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notesSlides/notesSlide12.xml" ContentType="application/vnd.openxmlformats-officedocument.presentationml.notesSlide+xml"/>
  <Override PartName="/ppt/tags/tag32.xml" ContentType="application/vnd.openxmlformats-officedocument.presentationml.tags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9"/>
  </p:notesMasterIdLst>
  <p:sldIdLst>
    <p:sldId id="273" r:id="rId5"/>
    <p:sldId id="2147482901" r:id="rId6"/>
    <p:sldId id="2147483352" r:id="rId7"/>
    <p:sldId id="2147483068" r:id="rId8"/>
    <p:sldId id="2147482904" r:id="rId9"/>
    <p:sldId id="2147483355" r:id="rId10"/>
    <p:sldId id="2147482983" r:id="rId11"/>
    <p:sldId id="2147483070" r:id="rId12"/>
    <p:sldId id="2147483073" r:id="rId13"/>
    <p:sldId id="2147483074" r:id="rId14"/>
    <p:sldId id="2147482955" r:id="rId15"/>
    <p:sldId id="2147483356" r:id="rId16"/>
    <p:sldId id="2147482974" r:id="rId17"/>
    <p:sldId id="2147482975" r:id="rId18"/>
    <p:sldId id="2147482986" r:id="rId19"/>
    <p:sldId id="2147482987" r:id="rId20"/>
    <p:sldId id="2147482988" r:id="rId21"/>
    <p:sldId id="2147473785" r:id="rId22"/>
    <p:sldId id="2147483358" r:id="rId23"/>
    <p:sldId id="951" r:id="rId24"/>
    <p:sldId id="2147473185" r:id="rId25"/>
    <p:sldId id="2147483078" r:id="rId26"/>
    <p:sldId id="2147483072" r:id="rId27"/>
    <p:sldId id="2147483351" r:id="rId28"/>
  </p:sldIdLst>
  <p:sldSz cx="12192000" cy="6858000"/>
  <p:notesSz cx="6797675" cy="9872663"/>
  <p:custDataLst>
    <p:tags r:id="rId30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73"/>
            <p14:sldId id="2147482901"/>
            <p14:sldId id="2147483352"/>
            <p14:sldId id="2147483068"/>
            <p14:sldId id="2147482904"/>
            <p14:sldId id="2147483355"/>
            <p14:sldId id="2147482983"/>
            <p14:sldId id="2147483070"/>
            <p14:sldId id="2147483073"/>
            <p14:sldId id="2147483074"/>
            <p14:sldId id="2147482955"/>
            <p14:sldId id="2147483356"/>
            <p14:sldId id="2147482974"/>
            <p14:sldId id="2147482975"/>
            <p14:sldId id="2147482986"/>
            <p14:sldId id="2147482987"/>
            <p14:sldId id="2147482988"/>
            <p14:sldId id="2147473785"/>
            <p14:sldId id="2147483358"/>
            <p14:sldId id="951"/>
            <p14:sldId id="2147473185"/>
            <p14:sldId id="2147483078"/>
            <p14:sldId id="2147483072"/>
            <p14:sldId id="2147483351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FDC7F346-4312-36AF-0FF5-21C8082AB47A}" name="Claes Jensen" initials="CJ" userId="S::cljensen@nilfisk.com::4b63c7b0-aedc-4164-ae98-dea0b535c4ad" providerId="AD"/>
  <p188:author id="{E3AD689E-262B-A935-CEC3-AFF9757E6F5F}" name="Emma Jakobsen" initials="EJ" userId="S::ejakobsen@Nilfisk.com::7d62d3cc-97a4-4c56-8920-5d34f7ee0561" providerId="AD"/>
  <p188:author id="{869C6DC8-D2BD-AF91-A155-D0F8AE0BC728}" name="Claes Jensen" initials="CJ" userId="S::cljensen@Nilfisk.com::4b63c7b0-aedc-4164-ae98-dea0b535c4a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5976"/>
    <a:srgbClr val="7A0000"/>
    <a:srgbClr val="FFFFAF"/>
    <a:srgbClr val="8997A4"/>
    <a:srgbClr val="7C878E"/>
    <a:srgbClr val="000000"/>
    <a:srgbClr val="979797"/>
    <a:srgbClr val="4B4F54"/>
    <a:srgbClr val="606A70"/>
    <a:srgbClr val="D4C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astasia Droungani" userId="09c5df22-b6e2-4fe6-8272-4621f65e032c" providerId="ADAL" clId="{F8782ACA-4B20-455C-A66B-D7BDA2B7F5EC}"/>
    <pc:docChg chg="custSel delSld modSld sldOrd modSection">
      <pc:chgData name="Anastasia Droungani" userId="09c5df22-b6e2-4fe6-8272-4621f65e032c" providerId="ADAL" clId="{F8782ACA-4B20-455C-A66B-D7BDA2B7F5EC}" dt="2025-12-05T11:16:32.060" v="410" actId="2696"/>
      <pc:docMkLst>
        <pc:docMk/>
      </pc:docMkLst>
      <pc:sldChg chg="modSp mod">
        <pc:chgData name="Anastasia Droungani" userId="09c5df22-b6e2-4fe6-8272-4621f65e032c" providerId="ADAL" clId="{F8782ACA-4B20-455C-A66B-D7BDA2B7F5EC}" dt="2025-12-05T10:11:03.591" v="28" actId="6549"/>
        <pc:sldMkLst>
          <pc:docMk/>
          <pc:sldMk cId="4178317396" sldId="273"/>
        </pc:sldMkLst>
        <pc:spChg chg="mod">
          <ac:chgData name="Anastasia Droungani" userId="09c5df22-b6e2-4fe6-8272-4621f65e032c" providerId="ADAL" clId="{F8782ACA-4B20-455C-A66B-D7BDA2B7F5EC}" dt="2025-12-05T10:11:03.591" v="28" actId="6549"/>
          <ac:spMkLst>
            <pc:docMk/>
            <pc:sldMk cId="4178317396" sldId="273"/>
            <ac:spMk id="3" creationId="{08F58484-5BC4-4866-93A0-0360B816257A}"/>
          </ac:spMkLst>
        </pc:spChg>
      </pc:sldChg>
      <pc:sldChg chg="modSp mod">
        <pc:chgData name="Anastasia Droungani" userId="09c5df22-b6e2-4fe6-8272-4621f65e032c" providerId="ADAL" clId="{F8782ACA-4B20-455C-A66B-D7BDA2B7F5EC}" dt="2025-12-05T10:23:32.886" v="403" actId="20577"/>
        <pc:sldMkLst>
          <pc:docMk/>
          <pc:sldMk cId="3177612650" sldId="951"/>
        </pc:sldMkLst>
        <pc:spChg chg="mod">
          <ac:chgData name="Anastasia Droungani" userId="09c5df22-b6e2-4fe6-8272-4621f65e032c" providerId="ADAL" clId="{F8782ACA-4B20-455C-A66B-D7BDA2B7F5EC}" dt="2025-12-05T10:23:32.886" v="403" actId="20577"/>
          <ac:spMkLst>
            <pc:docMk/>
            <pc:sldMk cId="3177612650" sldId="951"/>
            <ac:spMk id="4" creationId="{CE3C4B78-7321-871D-5721-A0C6122A52E0}"/>
          </ac:spMkLst>
        </pc:spChg>
      </pc:sldChg>
      <pc:sldChg chg="modSp mod">
        <pc:chgData name="Anastasia Droungani" userId="09c5df22-b6e2-4fe6-8272-4621f65e032c" providerId="ADAL" clId="{F8782ACA-4B20-455C-A66B-D7BDA2B7F5EC}" dt="2025-12-05T10:23:36.638" v="405" actId="20577"/>
        <pc:sldMkLst>
          <pc:docMk/>
          <pc:sldMk cId="3203420683" sldId="2147473185"/>
        </pc:sldMkLst>
        <pc:spChg chg="mod">
          <ac:chgData name="Anastasia Droungani" userId="09c5df22-b6e2-4fe6-8272-4621f65e032c" providerId="ADAL" clId="{F8782ACA-4B20-455C-A66B-D7BDA2B7F5EC}" dt="2025-12-05T10:23:36.638" v="405" actId="20577"/>
          <ac:spMkLst>
            <pc:docMk/>
            <pc:sldMk cId="3203420683" sldId="2147473185"/>
            <ac:spMk id="18" creationId="{416633A5-6408-E355-2A34-0B5CC43A407D}"/>
          </ac:spMkLst>
        </pc:spChg>
      </pc:sldChg>
      <pc:sldChg chg="del">
        <pc:chgData name="Anastasia Droungani" userId="09c5df22-b6e2-4fe6-8272-4621f65e032c" providerId="ADAL" clId="{F8782ACA-4B20-455C-A66B-D7BDA2B7F5EC}" dt="2025-12-05T10:15:23.834" v="102" actId="2696"/>
        <pc:sldMkLst>
          <pc:docMk/>
          <pc:sldMk cId="2716853326" sldId="2147473239"/>
        </pc:sldMkLst>
      </pc:sldChg>
      <pc:sldChg chg="del">
        <pc:chgData name="Anastasia Droungani" userId="09c5df22-b6e2-4fe6-8272-4621f65e032c" providerId="ADAL" clId="{F8782ACA-4B20-455C-A66B-D7BDA2B7F5EC}" dt="2025-12-05T10:14:14.049" v="98" actId="2696"/>
        <pc:sldMkLst>
          <pc:docMk/>
          <pc:sldMk cId="121376873" sldId="2147473653"/>
        </pc:sldMkLst>
      </pc:sldChg>
      <pc:sldChg chg="del">
        <pc:chgData name="Anastasia Droungani" userId="09c5df22-b6e2-4fe6-8272-4621f65e032c" providerId="ADAL" clId="{F8782ACA-4B20-455C-A66B-D7BDA2B7F5EC}" dt="2025-12-05T10:13:30.566" v="30" actId="2696"/>
        <pc:sldMkLst>
          <pc:docMk/>
          <pc:sldMk cId="1020351519" sldId="2147473784"/>
        </pc:sldMkLst>
      </pc:sldChg>
      <pc:sldChg chg="modSp mod">
        <pc:chgData name="Anastasia Droungani" userId="09c5df22-b6e2-4fe6-8272-4621f65e032c" providerId="ADAL" clId="{F8782ACA-4B20-455C-A66B-D7BDA2B7F5EC}" dt="2025-12-05T10:22:37.781" v="340" actId="20577"/>
        <pc:sldMkLst>
          <pc:docMk/>
          <pc:sldMk cId="1749978083" sldId="2147473785"/>
        </pc:sldMkLst>
        <pc:spChg chg="mod">
          <ac:chgData name="Anastasia Droungani" userId="09c5df22-b6e2-4fe6-8272-4621f65e032c" providerId="ADAL" clId="{F8782ACA-4B20-455C-A66B-D7BDA2B7F5EC}" dt="2025-12-05T10:22:37.781" v="340" actId="20577"/>
          <ac:spMkLst>
            <pc:docMk/>
            <pc:sldMk cId="1749978083" sldId="2147473785"/>
            <ac:spMk id="7" creationId="{C4A0A575-CE3F-4485-91FC-04A222E423BE}"/>
          </ac:spMkLst>
        </pc:spChg>
      </pc:sldChg>
      <pc:sldChg chg="del">
        <pc:chgData name="Anastasia Droungani" userId="09c5df22-b6e2-4fe6-8272-4621f65e032c" providerId="ADAL" clId="{F8782ACA-4B20-455C-A66B-D7BDA2B7F5EC}" dt="2025-12-05T10:15:15.756" v="100" actId="2696"/>
        <pc:sldMkLst>
          <pc:docMk/>
          <pc:sldMk cId="2393957709" sldId="2147474124"/>
        </pc:sldMkLst>
      </pc:sldChg>
      <pc:sldChg chg="addSp delSp modSp mod">
        <pc:chgData name="Anastasia Droungani" userId="09c5df22-b6e2-4fe6-8272-4621f65e032c" providerId="ADAL" clId="{F8782ACA-4B20-455C-A66B-D7BDA2B7F5EC}" dt="2025-12-05T10:18:43.609" v="193" actId="20577"/>
        <pc:sldMkLst>
          <pc:docMk/>
          <pc:sldMk cId="184461941" sldId="2147482901"/>
        </pc:sldMkLst>
        <pc:spChg chg="add mod">
          <ac:chgData name="Anastasia Droungani" userId="09c5df22-b6e2-4fe6-8272-4621f65e032c" providerId="ADAL" clId="{F8782ACA-4B20-455C-A66B-D7BDA2B7F5EC}" dt="2025-12-05T10:18:43.609" v="193" actId="20577"/>
          <ac:spMkLst>
            <pc:docMk/>
            <pc:sldMk cId="184461941" sldId="2147482901"/>
            <ac:spMk id="4" creationId="{D878F158-75B2-F2C7-6BBF-82B9D9ECAFBD}"/>
          </ac:spMkLst>
        </pc:spChg>
        <pc:spChg chg="add mod">
          <ac:chgData name="Anastasia Droungani" userId="09c5df22-b6e2-4fe6-8272-4621f65e032c" providerId="ADAL" clId="{F8782ACA-4B20-455C-A66B-D7BDA2B7F5EC}" dt="2025-12-05T10:18:25.995" v="188" actId="20577"/>
          <ac:spMkLst>
            <pc:docMk/>
            <pc:sldMk cId="184461941" sldId="2147482901"/>
            <ac:spMk id="6" creationId="{1CE32909-8AF4-FBD3-E9FD-71921B6A0454}"/>
          </ac:spMkLst>
        </pc:spChg>
        <pc:spChg chg="add del mod">
          <ac:chgData name="Anastasia Droungani" userId="09c5df22-b6e2-4fe6-8272-4621f65e032c" providerId="ADAL" clId="{F8782ACA-4B20-455C-A66B-D7BDA2B7F5EC}" dt="2025-12-05T10:17:54.182" v="173" actId="478"/>
          <ac:spMkLst>
            <pc:docMk/>
            <pc:sldMk cId="184461941" sldId="2147482901"/>
            <ac:spMk id="8" creationId="{E9F496D0-891F-5F77-0DCD-B22C388909F9}"/>
          </ac:spMkLst>
        </pc:spChg>
        <pc:spChg chg="add del mod">
          <ac:chgData name="Anastasia Droungani" userId="09c5df22-b6e2-4fe6-8272-4621f65e032c" providerId="ADAL" clId="{F8782ACA-4B20-455C-A66B-D7BDA2B7F5EC}" dt="2025-12-05T10:17:54.182" v="173" actId="478"/>
          <ac:spMkLst>
            <pc:docMk/>
            <pc:sldMk cId="184461941" sldId="2147482901"/>
            <ac:spMk id="10" creationId="{63F79655-E887-701E-D3A9-8CAEE95E8A9E}"/>
          </ac:spMkLst>
        </pc:spChg>
        <pc:spChg chg="del">
          <ac:chgData name="Anastasia Droungani" userId="09c5df22-b6e2-4fe6-8272-4621f65e032c" providerId="ADAL" clId="{F8782ACA-4B20-455C-A66B-D7BDA2B7F5EC}" dt="2025-12-05T10:16:45.232" v="105" actId="478"/>
          <ac:spMkLst>
            <pc:docMk/>
            <pc:sldMk cId="184461941" sldId="2147482901"/>
            <ac:spMk id="35" creationId="{A9B109C9-CBC6-47B7-064F-5F9B18C53805}"/>
          </ac:spMkLst>
        </pc:spChg>
        <pc:spChg chg="mod">
          <ac:chgData name="Anastasia Droungani" userId="09c5df22-b6e2-4fe6-8272-4621f65e032c" providerId="ADAL" clId="{F8782ACA-4B20-455C-A66B-D7BDA2B7F5EC}" dt="2025-12-05T10:16:57.904" v="129" actId="1035"/>
          <ac:spMkLst>
            <pc:docMk/>
            <pc:sldMk cId="184461941" sldId="2147482901"/>
            <ac:spMk id="36" creationId="{963E1DD2-FEBA-FF56-5DC4-A9C57C152DFB}"/>
          </ac:spMkLst>
        </pc:spChg>
        <pc:spChg chg="mod">
          <ac:chgData name="Anastasia Droungani" userId="09c5df22-b6e2-4fe6-8272-4621f65e032c" providerId="ADAL" clId="{F8782ACA-4B20-455C-A66B-D7BDA2B7F5EC}" dt="2025-12-05T10:16:57.904" v="129" actId="1035"/>
          <ac:spMkLst>
            <pc:docMk/>
            <pc:sldMk cId="184461941" sldId="2147482901"/>
            <ac:spMk id="37" creationId="{1F7A799E-8580-D4E4-B60C-790DDCC4822F}"/>
          </ac:spMkLst>
        </pc:spChg>
        <pc:spChg chg="del mod">
          <ac:chgData name="Anastasia Droungani" userId="09c5df22-b6e2-4fe6-8272-4621f65e032c" providerId="ADAL" clId="{F8782ACA-4B20-455C-A66B-D7BDA2B7F5EC}" dt="2025-12-05T10:17:37.176" v="136" actId="478"/>
          <ac:spMkLst>
            <pc:docMk/>
            <pc:sldMk cId="184461941" sldId="2147482901"/>
            <ac:spMk id="38" creationId="{34D549EB-76CF-7DD6-399B-21959B5E679E}"/>
          </ac:spMkLst>
        </pc:spChg>
        <pc:spChg chg="del mod">
          <ac:chgData name="Anastasia Droungani" userId="09c5df22-b6e2-4fe6-8272-4621f65e032c" providerId="ADAL" clId="{F8782ACA-4B20-455C-A66B-D7BDA2B7F5EC}" dt="2025-12-05T10:17:48.630" v="172" actId="478"/>
          <ac:spMkLst>
            <pc:docMk/>
            <pc:sldMk cId="184461941" sldId="2147482901"/>
            <ac:spMk id="39" creationId="{AF07C625-CD1F-45D9-8898-3B1E1315065E}"/>
          </ac:spMkLst>
        </pc:spChg>
        <pc:spChg chg="del">
          <ac:chgData name="Anastasia Droungani" userId="09c5df22-b6e2-4fe6-8272-4621f65e032c" providerId="ADAL" clId="{F8782ACA-4B20-455C-A66B-D7BDA2B7F5EC}" dt="2025-12-05T10:16:45.232" v="105" actId="478"/>
          <ac:spMkLst>
            <pc:docMk/>
            <pc:sldMk cId="184461941" sldId="2147482901"/>
            <ac:spMk id="41" creationId="{499F038F-991A-4D0A-26AF-1BB8A15AE07F}"/>
          </ac:spMkLst>
        </pc:spChg>
        <pc:spChg chg="mod">
          <ac:chgData name="Anastasia Droungani" userId="09c5df22-b6e2-4fe6-8272-4621f65e032c" providerId="ADAL" clId="{F8782ACA-4B20-455C-A66B-D7BDA2B7F5EC}" dt="2025-12-05T10:18:20.251" v="184" actId="20577"/>
          <ac:spMkLst>
            <pc:docMk/>
            <pc:sldMk cId="184461941" sldId="2147482901"/>
            <ac:spMk id="42" creationId="{97F23277-13D1-5340-5949-5210D88EE010}"/>
          </ac:spMkLst>
        </pc:spChg>
        <pc:spChg chg="mod">
          <ac:chgData name="Anastasia Droungani" userId="09c5df22-b6e2-4fe6-8272-4621f65e032c" providerId="ADAL" clId="{F8782ACA-4B20-455C-A66B-D7BDA2B7F5EC}" dt="2025-12-05T10:18:23.689" v="186" actId="20577"/>
          <ac:spMkLst>
            <pc:docMk/>
            <pc:sldMk cId="184461941" sldId="2147482901"/>
            <ac:spMk id="43" creationId="{7D0398B8-2FCE-3C77-7FFE-3471787D2140}"/>
          </ac:spMkLst>
        </pc:spChg>
        <pc:spChg chg="del mod">
          <ac:chgData name="Anastasia Droungani" userId="09c5df22-b6e2-4fe6-8272-4621f65e032c" providerId="ADAL" clId="{F8782ACA-4B20-455C-A66B-D7BDA2B7F5EC}" dt="2025-12-05T10:17:37.176" v="136" actId="478"/>
          <ac:spMkLst>
            <pc:docMk/>
            <pc:sldMk cId="184461941" sldId="2147482901"/>
            <ac:spMk id="44" creationId="{A820771D-FA86-ABAE-D6FB-AE44BC4D8DD6}"/>
          </ac:spMkLst>
        </pc:spChg>
        <pc:spChg chg="del mod">
          <ac:chgData name="Anastasia Droungani" userId="09c5df22-b6e2-4fe6-8272-4621f65e032c" providerId="ADAL" clId="{F8782ACA-4B20-455C-A66B-D7BDA2B7F5EC}" dt="2025-12-05T10:17:48.630" v="172" actId="478"/>
          <ac:spMkLst>
            <pc:docMk/>
            <pc:sldMk cId="184461941" sldId="2147482901"/>
            <ac:spMk id="45" creationId="{31C71C88-FF9E-827A-3DC7-BEA940B0F927}"/>
          </ac:spMkLst>
        </pc:spChg>
      </pc:sldChg>
      <pc:sldChg chg="modSp del mod ord">
        <pc:chgData name="Anastasia Droungani" userId="09c5df22-b6e2-4fe6-8272-4621f65e032c" providerId="ADAL" clId="{F8782ACA-4B20-455C-A66B-D7BDA2B7F5EC}" dt="2025-12-05T11:16:32.060" v="410" actId="2696"/>
        <pc:sldMkLst>
          <pc:docMk/>
          <pc:sldMk cId="1102948027" sldId="2147482928"/>
        </pc:sldMkLst>
        <pc:spChg chg="mod">
          <ac:chgData name="Anastasia Droungani" userId="09c5df22-b6e2-4fe6-8272-4621f65e032c" providerId="ADAL" clId="{F8782ACA-4B20-455C-A66B-D7BDA2B7F5EC}" dt="2025-12-05T10:22:43.007" v="343" actId="20577"/>
          <ac:spMkLst>
            <pc:docMk/>
            <pc:sldMk cId="1102948027" sldId="2147482928"/>
            <ac:spMk id="5" creationId="{698A0E37-F4E7-AB40-2A8D-00AB14F87888}"/>
          </ac:spMkLst>
        </pc:spChg>
      </pc:sldChg>
      <pc:sldChg chg="del">
        <pc:chgData name="Anastasia Droungani" userId="09c5df22-b6e2-4fe6-8272-4621f65e032c" providerId="ADAL" clId="{F8782ACA-4B20-455C-A66B-D7BDA2B7F5EC}" dt="2025-12-05T10:14:18.048" v="99" actId="2696"/>
        <pc:sldMkLst>
          <pc:docMk/>
          <pc:sldMk cId="2188712108" sldId="2147482952"/>
        </pc:sldMkLst>
      </pc:sldChg>
      <pc:sldChg chg="modSp mod">
        <pc:chgData name="Anastasia Droungani" userId="09c5df22-b6e2-4fe6-8272-4621f65e032c" providerId="ADAL" clId="{F8782ACA-4B20-455C-A66B-D7BDA2B7F5EC}" dt="2025-12-05T10:21:01.305" v="279" actId="20577"/>
        <pc:sldMkLst>
          <pc:docMk/>
          <pc:sldMk cId="1189349226" sldId="2147482955"/>
        </pc:sldMkLst>
        <pc:spChg chg="mod">
          <ac:chgData name="Anastasia Droungani" userId="09c5df22-b6e2-4fe6-8272-4621f65e032c" providerId="ADAL" clId="{F8782ACA-4B20-455C-A66B-D7BDA2B7F5EC}" dt="2025-12-05T10:21:01.305" v="279" actId="20577"/>
          <ac:spMkLst>
            <pc:docMk/>
            <pc:sldMk cId="1189349226" sldId="2147482955"/>
            <ac:spMk id="8" creationId="{5ADC7FDD-8A74-4DEC-86DE-5FCF4AFC1452}"/>
          </ac:spMkLst>
        </pc:spChg>
      </pc:sldChg>
      <pc:sldChg chg="modSp mod">
        <pc:chgData name="Anastasia Droungani" userId="09c5df22-b6e2-4fe6-8272-4621f65e032c" providerId="ADAL" clId="{F8782ACA-4B20-455C-A66B-D7BDA2B7F5EC}" dt="2025-12-05T10:22:16.363" v="330" actId="20577"/>
        <pc:sldMkLst>
          <pc:docMk/>
          <pc:sldMk cId="1285200800" sldId="2147482974"/>
        </pc:sldMkLst>
        <pc:spChg chg="mod">
          <ac:chgData name="Anastasia Droungani" userId="09c5df22-b6e2-4fe6-8272-4621f65e032c" providerId="ADAL" clId="{F8782ACA-4B20-455C-A66B-D7BDA2B7F5EC}" dt="2025-12-05T10:22:16.363" v="330" actId="20577"/>
          <ac:spMkLst>
            <pc:docMk/>
            <pc:sldMk cId="1285200800" sldId="2147482974"/>
            <ac:spMk id="7" creationId="{37F4393F-3757-7BB2-1DDA-4701BC5DE85B}"/>
          </ac:spMkLst>
        </pc:spChg>
      </pc:sldChg>
      <pc:sldChg chg="modSp mod">
        <pc:chgData name="Anastasia Droungani" userId="09c5df22-b6e2-4fe6-8272-4621f65e032c" providerId="ADAL" clId="{F8782ACA-4B20-455C-A66B-D7BDA2B7F5EC}" dt="2025-12-05T10:22:20.382" v="332" actId="20577"/>
        <pc:sldMkLst>
          <pc:docMk/>
          <pc:sldMk cId="1672613796" sldId="2147482975"/>
        </pc:sldMkLst>
        <pc:spChg chg="mod">
          <ac:chgData name="Anastasia Droungani" userId="09c5df22-b6e2-4fe6-8272-4621f65e032c" providerId="ADAL" clId="{F8782ACA-4B20-455C-A66B-D7BDA2B7F5EC}" dt="2025-12-05T10:22:20.382" v="332" actId="20577"/>
          <ac:spMkLst>
            <pc:docMk/>
            <pc:sldMk cId="1672613796" sldId="2147482975"/>
            <ac:spMk id="8" creationId="{92DD5482-BCFF-8610-CBDA-B28D6EC0A635}"/>
          </ac:spMkLst>
        </pc:spChg>
      </pc:sldChg>
      <pc:sldChg chg="del">
        <pc:chgData name="Anastasia Droungani" userId="09c5df22-b6e2-4fe6-8272-4621f65e032c" providerId="ADAL" clId="{F8782ACA-4B20-455C-A66B-D7BDA2B7F5EC}" dt="2025-12-05T10:13:15.973" v="29" actId="2696"/>
        <pc:sldMkLst>
          <pc:docMk/>
          <pc:sldMk cId="1510066910" sldId="2147482977"/>
        </pc:sldMkLst>
      </pc:sldChg>
      <pc:sldChg chg="modSp mod">
        <pc:chgData name="Anastasia Droungani" userId="09c5df22-b6e2-4fe6-8272-4621f65e032c" providerId="ADAL" clId="{F8782ACA-4B20-455C-A66B-D7BDA2B7F5EC}" dt="2025-12-05T10:20:39.216" v="271" actId="20577"/>
        <pc:sldMkLst>
          <pc:docMk/>
          <pc:sldMk cId="984789493" sldId="2147482983"/>
        </pc:sldMkLst>
        <pc:spChg chg="mod">
          <ac:chgData name="Anastasia Droungani" userId="09c5df22-b6e2-4fe6-8272-4621f65e032c" providerId="ADAL" clId="{F8782ACA-4B20-455C-A66B-D7BDA2B7F5EC}" dt="2025-12-05T10:20:39.216" v="271" actId="20577"/>
          <ac:spMkLst>
            <pc:docMk/>
            <pc:sldMk cId="984789493" sldId="2147482983"/>
            <ac:spMk id="7" creationId="{A57E0E44-CF33-E4F4-2467-7C38D9813536}"/>
          </ac:spMkLst>
        </pc:spChg>
      </pc:sldChg>
      <pc:sldChg chg="modSp mod">
        <pc:chgData name="Anastasia Droungani" userId="09c5df22-b6e2-4fe6-8272-4621f65e032c" providerId="ADAL" clId="{F8782ACA-4B20-455C-A66B-D7BDA2B7F5EC}" dt="2025-12-05T10:22:26.124" v="334" actId="20577"/>
        <pc:sldMkLst>
          <pc:docMk/>
          <pc:sldMk cId="345546522" sldId="2147482986"/>
        </pc:sldMkLst>
        <pc:spChg chg="mod">
          <ac:chgData name="Anastasia Droungani" userId="09c5df22-b6e2-4fe6-8272-4621f65e032c" providerId="ADAL" clId="{F8782ACA-4B20-455C-A66B-D7BDA2B7F5EC}" dt="2025-12-05T10:22:26.124" v="334" actId="20577"/>
          <ac:spMkLst>
            <pc:docMk/>
            <pc:sldMk cId="345546522" sldId="2147482986"/>
            <ac:spMk id="7" creationId="{EF391CC3-F4F2-B2DD-735B-DDB67F33755A}"/>
          </ac:spMkLst>
        </pc:spChg>
      </pc:sldChg>
      <pc:sldChg chg="modSp mod">
        <pc:chgData name="Anastasia Droungani" userId="09c5df22-b6e2-4fe6-8272-4621f65e032c" providerId="ADAL" clId="{F8782ACA-4B20-455C-A66B-D7BDA2B7F5EC}" dt="2025-12-05T10:22:30.058" v="336" actId="20577"/>
        <pc:sldMkLst>
          <pc:docMk/>
          <pc:sldMk cId="2046532991" sldId="2147482987"/>
        </pc:sldMkLst>
        <pc:spChg chg="mod">
          <ac:chgData name="Anastasia Droungani" userId="09c5df22-b6e2-4fe6-8272-4621f65e032c" providerId="ADAL" clId="{F8782ACA-4B20-455C-A66B-D7BDA2B7F5EC}" dt="2025-12-05T10:22:30.058" v="336" actId="20577"/>
          <ac:spMkLst>
            <pc:docMk/>
            <pc:sldMk cId="2046532991" sldId="2147482987"/>
            <ac:spMk id="7" creationId="{CA31C39B-3856-E33A-6B29-587B4507FCA3}"/>
          </ac:spMkLst>
        </pc:spChg>
      </pc:sldChg>
      <pc:sldChg chg="modSp mod">
        <pc:chgData name="Anastasia Droungani" userId="09c5df22-b6e2-4fe6-8272-4621f65e032c" providerId="ADAL" clId="{F8782ACA-4B20-455C-A66B-D7BDA2B7F5EC}" dt="2025-12-05T10:22:33.966" v="338" actId="20577"/>
        <pc:sldMkLst>
          <pc:docMk/>
          <pc:sldMk cId="2754424226" sldId="2147482988"/>
        </pc:sldMkLst>
        <pc:spChg chg="mod">
          <ac:chgData name="Anastasia Droungani" userId="09c5df22-b6e2-4fe6-8272-4621f65e032c" providerId="ADAL" clId="{F8782ACA-4B20-455C-A66B-D7BDA2B7F5EC}" dt="2025-12-05T10:22:33.966" v="338" actId="20577"/>
          <ac:spMkLst>
            <pc:docMk/>
            <pc:sldMk cId="2754424226" sldId="2147482988"/>
            <ac:spMk id="7" creationId="{137E11AD-F3F8-E4D0-C8F2-195B36221796}"/>
          </ac:spMkLst>
        </pc:spChg>
      </pc:sldChg>
      <pc:sldChg chg="modSp mod">
        <pc:chgData name="Anastasia Droungani" userId="09c5df22-b6e2-4fe6-8272-4621f65e032c" providerId="ADAL" clId="{F8782ACA-4B20-455C-A66B-D7BDA2B7F5EC}" dt="2025-12-05T10:20:43.763" v="273" actId="20577"/>
        <pc:sldMkLst>
          <pc:docMk/>
          <pc:sldMk cId="3727346441" sldId="2147483070"/>
        </pc:sldMkLst>
        <pc:spChg chg="mod">
          <ac:chgData name="Anastasia Droungani" userId="09c5df22-b6e2-4fe6-8272-4621f65e032c" providerId="ADAL" clId="{F8782ACA-4B20-455C-A66B-D7BDA2B7F5EC}" dt="2025-12-05T10:20:43.763" v="273" actId="20577"/>
          <ac:spMkLst>
            <pc:docMk/>
            <pc:sldMk cId="3727346441" sldId="2147483070"/>
            <ac:spMk id="18" creationId="{416633A5-6408-E355-2A34-0B5CC43A407D}"/>
          </ac:spMkLst>
        </pc:spChg>
      </pc:sldChg>
      <pc:sldChg chg="modSp mod">
        <pc:chgData name="Anastasia Droungani" userId="09c5df22-b6e2-4fe6-8272-4621f65e032c" providerId="ADAL" clId="{F8782ACA-4B20-455C-A66B-D7BDA2B7F5EC}" dt="2025-12-05T10:24:49.285" v="409" actId="20577"/>
        <pc:sldMkLst>
          <pc:docMk/>
          <pc:sldMk cId="1672956563" sldId="2147483072"/>
        </pc:sldMkLst>
        <pc:spChg chg="mod">
          <ac:chgData name="Anastasia Droungani" userId="09c5df22-b6e2-4fe6-8272-4621f65e032c" providerId="ADAL" clId="{F8782ACA-4B20-455C-A66B-D7BDA2B7F5EC}" dt="2025-12-05T10:24:49.285" v="409" actId="20577"/>
          <ac:spMkLst>
            <pc:docMk/>
            <pc:sldMk cId="1672956563" sldId="2147483072"/>
            <ac:spMk id="4" creationId="{6CFA7AD1-EE6C-1218-7CE5-69910A5C2E1E}"/>
          </ac:spMkLst>
        </pc:spChg>
      </pc:sldChg>
      <pc:sldChg chg="modSp mod">
        <pc:chgData name="Anastasia Droungani" userId="09c5df22-b6e2-4fe6-8272-4621f65e032c" providerId="ADAL" clId="{F8782ACA-4B20-455C-A66B-D7BDA2B7F5EC}" dt="2025-12-05T10:20:48.274" v="275" actId="20577"/>
        <pc:sldMkLst>
          <pc:docMk/>
          <pc:sldMk cId="2944035456" sldId="2147483073"/>
        </pc:sldMkLst>
        <pc:spChg chg="mod">
          <ac:chgData name="Anastasia Droungani" userId="09c5df22-b6e2-4fe6-8272-4621f65e032c" providerId="ADAL" clId="{F8782ACA-4B20-455C-A66B-D7BDA2B7F5EC}" dt="2025-12-05T10:20:48.274" v="275" actId="20577"/>
          <ac:spMkLst>
            <pc:docMk/>
            <pc:sldMk cId="2944035456" sldId="2147483073"/>
            <ac:spMk id="7" creationId="{48DC875C-9896-AED1-A442-192D14E3FCE8}"/>
          </ac:spMkLst>
        </pc:spChg>
      </pc:sldChg>
      <pc:sldChg chg="modSp mod">
        <pc:chgData name="Anastasia Droungani" userId="09c5df22-b6e2-4fe6-8272-4621f65e032c" providerId="ADAL" clId="{F8782ACA-4B20-455C-A66B-D7BDA2B7F5EC}" dt="2025-12-05T10:20:53.617" v="277" actId="20577"/>
        <pc:sldMkLst>
          <pc:docMk/>
          <pc:sldMk cId="1080622399" sldId="2147483074"/>
        </pc:sldMkLst>
        <pc:spChg chg="mod">
          <ac:chgData name="Anastasia Droungani" userId="09c5df22-b6e2-4fe6-8272-4621f65e032c" providerId="ADAL" clId="{F8782ACA-4B20-455C-A66B-D7BDA2B7F5EC}" dt="2025-12-05T10:20:53.617" v="277" actId="20577"/>
          <ac:spMkLst>
            <pc:docMk/>
            <pc:sldMk cId="1080622399" sldId="2147483074"/>
            <ac:spMk id="7" creationId="{E4D26BA6-E6EB-5C3A-8CD8-702971FBB87F}"/>
          </ac:spMkLst>
        </pc:spChg>
      </pc:sldChg>
      <pc:sldChg chg="del">
        <pc:chgData name="Anastasia Droungani" userId="09c5df22-b6e2-4fe6-8272-4621f65e032c" providerId="ADAL" clId="{F8782ACA-4B20-455C-A66B-D7BDA2B7F5EC}" dt="2025-12-05T10:15:19.978" v="101" actId="2696"/>
        <pc:sldMkLst>
          <pc:docMk/>
          <pc:sldMk cId="2286618326" sldId="2147483075"/>
        </pc:sldMkLst>
      </pc:sldChg>
      <pc:sldChg chg="del">
        <pc:chgData name="Anastasia Droungani" userId="09c5df22-b6e2-4fe6-8272-4621f65e032c" providerId="ADAL" clId="{F8782ACA-4B20-455C-A66B-D7BDA2B7F5EC}" dt="2025-12-05T10:15:26.775" v="103" actId="2696"/>
        <pc:sldMkLst>
          <pc:docMk/>
          <pc:sldMk cId="2521426345" sldId="2147483076"/>
        </pc:sldMkLst>
      </pc:sldChg>
      <pc:sldChg chg="modSp mod">
        <pc:chgData name="Anastasia Droungani" userId="09c5df22-b6e2-4fe6-8272-4621f65e032c" providerId="ADAL" clId="{F8782ACA-4B20-455C-A66B-D7BDA2B7F5EC}" dt="2025-12-05T10:23:46.080" v="407" actId="20577"/>
        <pc:sldMkLst>
          <pc:docMk/>
          <pc:sldMk cId="827001692" sldId="2147483078"/>
        </pc:sldMkLst>
        <pc:spChg chg="mod">
          <ac:chgData name="Anastasia Droungani" userId="09c5df22-b6e2-4fe6-8272-4621f65e032c" providerId="ADAL" clId="{F8782ACA-4B20-455C-A66B-D7BDA2B7F5EC}" dt="2025-12-05T10:23:46.080" v="407" actId="20577"/>
          <ac:spMkLst>
            <pc:docMk/>
            <pc:sldMk cId="827001692" sldId="2147483078"/>
            <ac:spMk id="18" creationId="{DC27E3BF-DF8B-A291-BB4E-E2DDF08922B8}"/>
          </ac:spMkLst>
        </pc:spChg>
      </pc:sldChg>
      <pc:sldChg chg="del">
        <pc:chgData name="Anastasia Droungani" userId="09c5df22-b6e2-4fe6-8272-4621f65e032c" providerId="ADAL" clId="{F8782ACA-4B20-455C-A66B-D7BDA2B7F5EC}" dt="2025-12-05T10:16:23.319" v="104" actId="2696"/>
        <pc:sldMkLst>
          <pc:docMk/>
          <pc:sldMk cId="2579457050" sldId="2147483110"/>
        </pc:sldMkLst>
      </pc:sldChg>
      <pc:sldChg chg="delSp modSp mod">
        <pc:chgData name="Anastasia Droungani" userId="09c5df22-b6e2-4fe6-8272-4621f65e032c" providerId="ADAL" clId="{F8782ACA-4B20-455C-A66B-D7BDA2B7F5EC}" dt="2025-12-05T10:20:29.408" v="269" actId="20577"/>
        <pc:sldMkLst>
          <pc:docMk/>
          <pc:sldMk cId="3805099853" sldId="2147483352"/>
        </pc:sldMkLst>
        <pc:spChg chg="del">
          <ac:chgData name="Anastasia Droungani" userId="09c5df22-b6e2-4fe6-8272-4621f65e032c" providerId="ADAL" clId="{F8782ACA-4B20-455C-A66B-D7BDA2B7F5EC}" dt="2025-12-05T10:18:34.997" v="189" actId="478"/>
          <ac:spMkLst>
            <pc:docMk/>
            <pc:sldMk cId="3805099853" sldId="2147483352"/>
            <ac:spMk id="35" creationId="{B926CE87-2488-3018-8B85-A6FF341BAF93}"/>
          </ac:spMkLst>
        </pc:spChg>
        <pc:spChg chg="mod">
          <ac:chgData name="Anastasia Droungani" userId="09c5df22-b6e2-4fe6-8272-4621f65e032c" providerId="ADAL" clId="{F8782ACA-4B20-455C-A66B-D7BDA2B7F5EC}" dt="2025-12-05T10:19:24.338" v="200" actId="1076"/>
          <ac:spMkLst>
            <pc:docMk/>
            <pc:sldMk cId="3805099853" sldId="2147483352"/>
            <ac:spMk id="36" creationId="{C8F2A2EA-CD24-FA1D-D971-0C276BABD709}"/>
          </ac:spMkLst>
        </pc:spChg>
        <pc:spChg chg="del">
          <ac:chgData name="Anastasia Droungani" userId="09c5df22-b6e2-4fe6-8272-4621f65e032c" providerId="ADAL" clId="{F8782ACA-4B20-455C-A66B-D7BDA2B7F5EC}" dt="2025-12-05T10:19:01.504" v="196" actId="478"/>
          <ac:spMkLst>
            <pc:docMk/>
            <pc:sldMk cId="3805099853" sldId="2147483352"/>
            <ac:spMk id="37" creationId="{4CE1D753-B742-8C15-9042-BEDFDC7F5135}"/>
          </ac:spMkLst>
        </pc:spChg>
        <pc:spChg chg="mod">
          <ac:chgData name="Anastasia Droungani" userId="09c5df22-b6e2-4fe6-8272-4621f65e032c" providerId="ADAL" clId="{F8782ACA-4B20-455C-A66B-D7BDA2B7F5EC}" dt="2025-12-05T10:20:29.408" v="269" actId="20577"/>
          <ac:spMkLst>
            <pc:docMk/>
            <pc:sldMk cId="3805099853" sldId="2147483352"/>
            <ac:spMk id="38" creationId="{7F23863C-20B2-AB94-93A9-373D192B838C}"/>
          </ac:spMkLst>
        </pc:spChg>
        <pc:spChg chg="mod">
          <ac:chgData name="Anastasia Droungani" userId="09c5df22-b6e2-4fe6-8272-4621f65e032c" providerId="ADAL" clId="{F8782ACA-4B20-455C-A66B-D7BDA2B7F5EC}" dt="2025-12-05T10:19:18.934" v="199" actId="1076"/>
          <ac:spMkLst>
            <pc:docMk/>
            <pc:sldMk cId="3805099853" sldId="2147483352"/>
            <ac:spMk id="39" creationId="{3995CF2D-4494-1505-B22C-9FD212E9466F}"/>
          </ac:spMkLst>
        </pc:spChg>
        <pc:spChg chg="del">
          <ac:chgData name="Anastasia Droungani" userId="09c5df22-b6e2-4fe6-8272-4621f65e032c" providerId="ADAL" clId="{F8782ACA-4B20-455C-A66B-D7BDA2B7F5EC}" dt="2025-12-05T10:18:34.997" v="189" actId="478"/>
          <ac:spMkLst>
            <pc:docMk/>
            <pc:sldMk cId="3805099853" sldId="2147483352"/>
            <ac:spMk id="41" creationId="{CFBEE14E-9B8F-7926-B1F0-D725DE31F4CA}"/>
          </ac:spMkLst>
        </pc:spChg>
        <pc:spChg chg="mod">
          <ac:chgData name="Anastasia Droungani" userId="09c5df22-b6e2-4fe6-8272-4621f65e032c" providerId="ADAL" clId="{F8782ACA-4B20-455C-A66B-D7BDA2B7F5EC}" dt="2025-12-05T10:19:27.765" v="204" actId="20577"/>
          <ac:spMkLst>
            <pc:docMk/>
            <pc:sldMk cId="3805099853" sldId="2147483352"/>
            <ac:spMk id="42" creationId="{3A3EFA88-ED1D-4F36-87CE-448E8B498E0D}"/>
          </ac:spMkLst>
        </pc:spChg>
        <pc:spChg chg="del">
          <ac:chgData name="Anastasia Droungani" userId="09c5df22-b6e2-4fe6-8272-4621f65e032c" providerId="ADAL" clId="{F8782ACA-4B20-455C-A66B-D7BDA2B7F5EC}" dt="2025-12-05T10:19:01.504" v="196" actId="478"/>
          <ac:spMkLst>
            <pc:docMk/>
            <pc:sldMk cId="3805099853" sldId="2147483352"/>
            <ac:spMk id="43" creationId="{A6112F21-DFA7-1D57-A36C-CDAED48096D2}"/>
          </ac:spMkLst>
        </pc:spChg>
        <pc:spChg chg="mod">
          <ac:chgData name="Anastasia Droungani" userId="09c5df22-b6e2-4fe6-8272-4621f65e032c" providerId="ADAL" clId="{F8782ACA-4B20-455C-A66B-D7BDA2B7F5EC}" dt="2025-12-05T10:19:30.843" v="206" actId="20577"/>
          <ac:spMkLst>
            <pc:docMk/>
            <pc:sldMk cId="3805099853" sldId="2147483352"/>
            <ac:spMk id="44" creationId="{27B7854E-E332-29BF-5DF4-38D7FDE40214}"/>
          </ac:spMkLst>
        </pc:spChg>
        <pc:spChg chg="mod">
          <ac:chgData name="Anastasia Droungani" userId="09c5df22-b6e2-4fe6-8272-4621f65e032c" providerId="ADAL" clId="{F8782ACA-4B20-455C-A66B-D7BDA2B7F5EC}" dt="2025-12-05T10:19:33.264" v="208" actId="20577"/>
          <ac:spMkLst>
            <pc:docMk/>
            <pc:sldMk cId="3805099853" sldId="2147483352"/>
            <ac:spMk id="45" creationId="{3D44663C-E03A-F83E-D31B-4ACC82CD1391}"/>
          </ac:spMkLst>
        </pc:spChg>
      </pc:sldChg>
      <pc:sldChg chg="del">
        <pc:chgData name="Anastasia Droungani" userId="09c5df22-b6e2-4fe6-8272-4621f65e032c" providerId="ADAL" clId="{F8782ACA-4B20-455C-A66B-D7BDA2B7F5EC}" dt="2025-12-05T10:13:34.261" v="31" actId="2696"/>
        <pc:sldMkLst>
          <pc:docMk/>
          <pc:sldMk cId="280613545" sldId="2147483354"/>
        </pc:sldMkLst>
      </pc:sldChg>
      <pc:sldChg chg="addSp delSp modSp mod">
        <pc:chgData name="Anastasia Droungani" userId="09c5df22-b6e2-4fe6-8272-4621f65e032c" providerId="ADAL" clId="{F8782ACA-4B20-455C-A66B-D7BDA2B7F5EC}" dt="2025-12-05T10:20:06.544" v="249" actId="20577"/>
        <pc:sldMkLst>
          <pc:docMk/>
          <pc:sldMk cId="3587220876" sldId="2147483355"/>
        </pc:sldMkLst>
        <pc:spChg chg="add del mod">
          <ac:chgData name="Anastasia Droungani" userId="09c5df22-b6e2-4fe6-8272-4621f65e032c" providerId="ADAL" clId="{F8782ACA-4B20-455C-A66B-D7BDA2B7F5EC}" dt="2025-12-05T10:19:53.156" v="212" actId="478"/>
          <ac:spMkLst>
            <pc:docMk/>
            <pc:sldMk cId="3587220876" sldId="2147483355"/>
            <ac:spMk id="5" creationId="{05B19D10-1138-3E58-80FC-549DA0F4688C}"/>
          </ac:spMkLst>
        </pc:spChg>
        <pc:spChg chg="add del mod">
          <ac:chgData name="Anastasia Droungani" userId="09c5df22-b6e2-4fe6-8272-4621f65e032c" providerId="ADAL" clId="{F8782ACA-4B20-455C-A66B-D7BDA2B7F5EC}" dt="2025-12-05T10:19:57.631" v="213" actId="478"/>
          <ac:spMkLst>
            <pc:docMk/>
            <pc:sldMk cId="3587220876" sldId="2147483355"/>
            <ac:spMk id="7" creationId="{41B421A3-E569-7462-974A-21DE42536A9E}"/>
          </ac:spMkLst>
        </pc:spChg>
        <pc:spChg chg="del">
          <ac:chgData name="Anastasia Droungani" userId="09c5df22-b6e2-4fe6-8272-4621f65e032c" providerId="ADAL" clId="{F8782ACA-4B20-455C-A66B-D7BDA2B7F5EC}" dt="2025-12-05T10:13:42.552" v="32" actId="478"/>
          <ac:spMkLst>
            <pc:docMk/>
            <pc:sldMk cId="3587220876" sldId="2147483355"/>
            <ac:spMk id="35" creationId="{9A290B07-081E-78AA-4FE8-86BE9A49F0FB}"/>
          </ac:spMkLst>
        </pc:spChg>
        <pc:spChg chg="mod">
          <ac:chgData name="Anastasia Droungani" userId="09c5df22-b6e2-4fe6-8272-4621f65e032c" providerId="ADAL" clId="{F8782ACA-4B20-455C-A66B-D7BDA2B7F5EC}" dt="2025-12-05T10:13:47.700" v="55" actId="1035"/>
          <ac:spMkLst>
            <pc:docMk/>
            <pc:sldMk cId="3587220876" sldId="2147483355"/>
            <ac:spMk id="36" creationId="{5E5DE5F2-0C43-B938-6A48-8C3E39575558}"/>
          </ac:spMkLst>
        </pc:spChg>
        <pc:spChg chg="mod">
          <ac:chgData name="Anastasia Droungani" userId="09c5df22-b6e2-4fe6-8272-4621f65e032c" providerId="ADAL" clId="{F8782ACA-4B20-455C-A66B-D7BDA2B7F5EC}" dt="2025-12-05T10:14:04.202" v="97" actId="1035"/>
          <ac:spMkLst>
            <pc:docMk/>
            <pc:sldMk cId="3587220876" sldId="2147483355"/>
            <ac:spMk id="37" creationId="{F97C911E-246E-D48C-5BD0-6E3A67B19652}"/>
          </ac:spMkLst>
        </pc:spChg>
        <pc:spChg chg="del mod">
          <ac:chgData name="Anastasia Droungani" userId="09c5df22-b6e2-4fe6-8272-4621f65e032c" providerId="ADAL" clId="{F8782ACA-4B20-455C-A66B-D7BDA2B7F5EC}" dt="2025-12-05T10:19:45.801" v="209" actId="478"/>
          <ac:spMkLst>
            <pc:docMk/>
            <pc:sldMk cId="3587220876" sldId="2147483355"/>
            <ac:spMk id="38" creationId="{28ADB74B-D493-C4BA-0971-41F4CEF2DA87}"/>
          </ac:spMkLst>
        </pc:spChg>
        <pc:spChg chg="mod">
          <ac:chgData name="Anastasia Droungani" userId="09c5df22-b6e2-4fe6-8272-4621f65e032c" providerId="ADAL" clId="{F8782ACA-4B20-455C-A66B-D7BDA2B7F5EC}" dt="2025-12-05T10:20:03.494" v="247" actId="1036"/>
          <ac:spMkLst>
            <pc:docMk/>
            <pc:sldMk cId="3587220876" sldId="2147483355"/>
            <ac:spMk id="39" creationId="{54FCB1DB-504F-95A8-608A-635BB594BC00}"/>
          </ac:spMkLst>
        </pc:spChg>
        <pc:spChg chg="del">
          <ac:chgData name="Anastasia Droungani" userId="09c5df22-b6e2-4fe6-8272-4621f65e032c" providerId="ADAL" clId="{F8782ACA-4B20-455C-A66B-D7BDA2B7F5EC}" dt="2025-12-05T10:13:42.552" v="32" actId="478"/>
          <ac:spMkLst>
            <pc:docMk/>
            <pc:sldMk cId="3587220876" sldId="2147483355"/>
            <ac:spMk id="41" creationId="{CD9C412B-F6A2-996E-A76A-36F9D669CFF9}"/>
          </ac:spMkLst>
        </pc:spChg>
        <pc:spChg chg="mod">
          <ac:chgData name="Anastasia Droungani" userId="09c5df22-b6e2-4fe6-8272-4621f65e032c" providerId="ADAL" clId="{F8782ACA-4B20-455C-A66B-D7BDA2B7F5EC}" dt="2025-12-05T10:13:51.947" v="57" actId="20577"/>
          <ac:spMkLst>
            <pc:docMk/>
            <pc:sldMk cId="3587220876" sldId="2147483355"/>
            <ac:spMk id="42" creationId="{B08DF9F2-E8E4-D1C4-87C2-D0FBACC3FD79}"/>
          </ac:spMkLst>
        </pc:spChg>
        <pc:spChg chg="mod">
          <ac:chgData name="Anastasia Droungani" userId="09c5df22-b6e2-4fe6-8272-4621f65e032c" providerId="ADAL" clId="{F8782ACA-4B20-455C-A66B-D7BDA2B7F5EC}" dt="2025-12-05T10:19:49.113" v="211" actId="20577"/>
          <ac:spMkLst>
            <pc:docMk/>
            <pc:sldMk cId="3587220876" sldId="2147483355"/>
            <ac:spMk id="43" creationId="{A1093F53-3D56-A210-A8C9-D8782CB77443}"/>
          </ac:spMkLst>
        </pc:spChg>
        <pc:spChg chg="del mod">
          <ac:chgData name="Anastasia Droungani" userId="09c5df22-b6e2-4fe6-8272-4621f65e032c" providerId="ADAL" clId="{F8782ACA-4B20-455C-A66B-D7BDA2B7F5EC}" dt="2025-12-05T10:19:45.801" v="209" actId="478"/>
          <ac:spMkLst>
            <pc:docMk/>
            <pc:sldMk cId="3587220876" sldId="2147483355"/>
            <ac:spMk id="44" creationId="{8C34A1ED-0BE4-5F56-BFE6-F257A86D30EF}"/>
          </ac:spMkLst>
        </pc:spChg>
        <pc:spChg chg="mod">
          <ac:chgData name="Anastasia Droungani" userId="09c5df22-b6e2-4fe6-8272-4621f65e032c" providerId="ADAL" clId="{F8782ACA-4B20-455C-A66B-D7BDA2B7F5EC}" dt="2025-12-05T10:20:06.544" v="249" actId="20577"/>
          <ac:spMkLst>
            <pc:docMk/>
            <pc:sldMk cId="3587220876" sldId="2147483355"/>
            <ac:spMk id="45" creationId="{ED9DC96F-E754-F327-8ADE-12A410F5807F}"/>
          </ac:spMkLst>
        </pc:spChg>
      </pc:sldChg>
      <pc:sldChg chg="addSp delSp modSp mod">
        <pc:chgData name="Anastasia Droungani" userId="09c5df22-b6e2-4fe6-8272-4621f65e032c" providerId="ADAL" clId="{F8782ACA-4B20-455C-A66B-D7BDA2B7F5EC}" dt="2025-12-05T10:22:09.894" v="328" actId="1076"/>
        <pc:sldMkLst>
          <pc:docMk/>
          <pc:sldMk cId="1991762189" sldId="2147483356"/>
        </pc:sldMkLst>
        <pc:spChg chg="add del mod">
          <ac:chgData name="Anastasia Droungani" userId="09c5df22-b6e2-4fe6-8272-4621f65e032c" providerId="ADAL" clId="{F8782ACA-4B20-455C-A66B-D7BDA2B7F5EC}" dt="2025-12-05T10:21:52.601" v="324" actId="478"/>
          <ac:spMkLst>
            <pc:docMk/>
            <pc:sldMk cId="1991762189" sldId="2147483356"/>
            <ac:spMk id="5" creationId="{14B0CB7A-5B92-D8E3-8856-4D069F2270E5}"/>
          </ac:spMkLst>
        </pc:spChg>
        <pc:spChg chg="add del mod">
          <ac:chgData name="Anastasia Droungani" userId="09c5df22-b6e2-4fe6-8272-4621f65e032c" providerId="ADAL" clId="{F8782ACA-4B20-455C-A66B-D7BDA2B7F5EC}" dt="2025-12-05T10:21:52.601" v="324" actId="478"/>
          <ac:spMkLst>
            <pc:docMk/>
            <pc:sldMk cId="1991762189" sldId="2147483356"/>
            <ac:spMk id="7" creationId="{27E3946B-E149-512D-F268-550F75B97959}"/>
          </ac:spMkLst>
        </pc:spChg>
        <pc:spChg chg="del">
          <ac:chgData name="Anastasia Droungani" userId="09c5df22-b6e2-4fe6-8272-4621f65e032c" providerId="ADAL" clId="{F8782ACA-4B20-455C-A66B-D7BDA2B7F5EC}" dt="2025-12-05T10:21:26.561" v="280" actId="478"/>
          <ac:spMkLst>
            <pc:docMk/>
            <pc:sldMk cId="1991762189" sldId="2147483356"/>
            <ac:spMk id="35" creationId="{C69B7C84-BD98-1BE7-4C50-EF7DFB6BE877}"/>
          </ac:spMkLst>
        </pc:spChg>
        <pc:spChg chg="mod">
          <ac:chgData name="Anastasia Droungani" userId="09c5df22-b6e2-4fe6-8272-4621f65e032c" providerId="ADAL" clId="{F8782ACA-4B20-455C-A66B-D7BDA2B7F5EC}" dt="2025-12-05T10:21:34.065" v="316" actId="1035"/>
          <ac:spMkLst>
            <pc:docMk/>
            <pc:sldMk cId="1991762189" sldId="2147483356"/>
            <ac:spMk id="36" creationId="{069EFB1F-BEC7-3A62-12C1-0FA5E1370010}"/>
          </ac:spMkLst>
        </pc:spChg>
        <pc:spChg chg="mod">
          <ac:chgData name="Anastasia Droungani" userId="09c5df22-b6e2-4fe6-8272-4621f65e032c" providerId="ADAL" clId="{F8782ACA-4B20-455C-A66B-D7BDA2B7F5EC}" dt="2025-12-05T10:22:03.675" v="327" actId="1076"/>
          <ac:spMkLst>
            <pc:docMk/>
            <pc:sldMk cId="1991762189" sldId="2147483356"/>
            <ac:spMk id="37" creationId="{430253DB-67ED-A2F1-5580-2E2C61DCF9AE}"/>
          </ac:spMkLst>
        </pc:spChg>
        <pc:spChg chg="del">
          <ac:chgData name="Anastasia Droungani" userId="09c5df22-b6e2-4fe6-8272-4621f65e032c" providerId="ADAL" clId="{F8782ACA-4B20-455C-A66B-D7BDA2B7F5EC}" dt="2025-12-05T10:21:49.201" v="323" actId="478"/>
          <ac:spMkLst>
            <pc:docMk/>
            <pc:sldMk cId="1991762189" sldId="2147483356"/>
            <ac:spMk id="38" creationId="{0CDB9F53-3B5F-F2BB-0E5B-37AFBBC55680}"/>
          </ac:spMkLst>
        </pc:spChg>
        <pc:spChg chg="mod">
          <ac:chgData name="Anastasia Droungani" userId="09c5df22-b6e2-4fe6-8272-4621f65e032c" providerId="ADAL" clId="{F8782ACA-4B20-455C-A66B-D7BDA2B7F5EC}" dt="2025-12-05T10:22:09.894" v="328" actId="1076"/>
          <ac:spMkLst>
            <pc:docMk/>
            <pc:sldMk cId="1991762189" sldId="2147483356"/>
            <ac:spMk id="39" creationId="{A022B260-CBB0-0FEB-E558-6AA3EF44F02C}"/>
          </ac:spMkLst>
        </pc:spChg>
        <pc:spChg chg="del">
          <ac:chgData name="Anastasia Droungani" userId="09c5df22-b6e2-4fe6-8272-4621f65e032c" providerId="ADAL" clId="{F8782ACA-4B20-455C-A66B-D7BDA2B7F5EC}" dt="2025-12-05T10:21:26.561" v="280" actId="478"/>
          <ac:spMkLst>
            <pc:docMk/>
            <pc:sldMk cId="1991762189" sldId="2147483356"/>
            <ac:spMk id="41" creationId="{C5FCEEF7-BC35-DCB7-446F-2DEF1CB2AECB}"/>
          </ac:spMkLst>
        </pc:spChg>
        <pc:spChg chg="mod">
          <ac:chgData name="Anastasia Droungani" userId="09c5df22-b6e2-4fe6-8272-4621f65e032c" providerId="ADAL" clId="{F8782ACA-4B20-455C-A66B-D7BDA2B7F5EC}" dt="2025-12-05T10:21:40.124" v="320" actId="20577"/>
          <ac:spMkLst>
            <pc:docMk/>
            <pc:sldMk cId="1991762189" sldId="2147483356"/>
            <ac:spMk id="42" creationId="{ECE92A3A-8976-9F07-C6D2-41E9A25D1255}"/>
          </ac:spMkLst>
        </pc:spChg>
        <pc:spChg chg="mod">
          <ac:chgData name="Anastasia Droungani" userId="09c5df22-b6e2-4fe6-8272-4621f65e032c" providerId="ADAL" clId="{F8782ACA-4B20-455C-A66B-D7BDA2B7F5EC}" dt="2025-12-05T10:22:03.675" v="327" actId="1076"/>
          <ac:spMkLst>
            <pc:docMk/>
            <pc:sldMk cId="1991762189" sldId="2147483356"/>
            <ac:spMk id="43" creationId="{668F9D77-C93C-1CE9-A97B-FC8F2D95CEC7}"/>
          </ac:spMkLst>
        </pc:spChg>
        <pc:spChg chg="del">
          <ac:chgData name="Anastasia Droungani" userId="09c5df22-b6e2-4fe6-8272-4621f65e032c" providerId="ADAL" clId="{F8782ACA-4B20-455C-A66B-D7BDA2B7F5EC}" dt="2025-12-05T10:21:49.201" v="323" actId="478"/>
          <ac:spMkLst>
            <pc:docMk/>
            <pc:sldMk cId="1991762189" sldId="2147483356"/>
            <ac:spMk id="44" creationId="{BCDA655A-2BB4-8A9E-0A69-65E86462954B}"/>
          </ac:spMkLst>
        </pc:spChg>
        <pc:spChg chg="mod">
          <ac:chgData name="Anastasia Droungani" userId="09c5df22-b6e2-4fe6-8272-4621f65e032c" providerId="ADAL" clId="{F8782ACA-4B20-455C-A66B-D7BDA2B7F5EC}" dt="2025-12-05T10:22:09.894" v="328" actId="1076"/>
          <ac:spMkLst>
            <pc:docMk/>
            <pc:sldMk cId="1991762189" sldId="2147483356"/>
            <ac:spMk id="45" creationId="{D9EE3038-544F-E9FE-13B6-2230A6425103}"/>
          </ac:spMkLst>
        </pc:spChg>
      </pc:sldChg>
      <pc:sldChg chg="del">
        <pc:chgData name="Anastasia Droungani" userId="09c5df22-b6e2-4fe6-8272-4621f65e032c" providerId="ADAL" clId="{F8782ACA-4B20-455C-A66B-D7BDA2B7F5EC}" dt="2025-12-05T10:17:12.849" v="132" actId="2696"/>
        <pc:sldMkLst>
          <pc:docMk/>
          <pc:sldMk cId="2039770519" sldId="2147483357"/>
        </pc:sldMkLst>
      </pc:sldChg>
      <pc:sldChg chg="addSp delSp modSp mod">
        <pc:chgData name="Anastasia Droungani" userId="09c5df22-b6e2-4fe6-8272-4621f65e032c" providerId="ADAL" clId="{F8782ACA-4B20-455C-A66B-D7BDA2B7F5EC}" dt="2025-12-05T10:23:19.404" v="401" actId="20577"/>
        <pc:sldMkLst>
          <pc:docMk/>
          <pc:sldMk cId="1035134765" sldId="2147483358"/>
        </pc:sldMkLst>
        <pc:spChg chg="add del mod">
          <ac:chgData name="Anastasia Droungani" userId="09c5df22-b6e2-4fe6-8272-4621f65e032c" providerId="ADAL" clId="{F8782ACA-4B20-455C-A66B-D7BDA2B7F5EC}" dt="2025-12-05T10:22:55.264" v="345" actId="478"/>
          <ac:spMkLst>
            <pc:docMk/>
            <pc:sldMk cId="1035134765" sldId="2147483358"/>
            <ac:spMk id="5" creationId="{6C2334AA-840B-05EA-F398-DBE1CF27FAC1}"/>
          </ac:spMkLst>
        </pc:spChg>
        <pc:spChg chg="add del mod">
          <ac:chgData name="Anastasia Droungani" userId="09c5df22-b6e2-4fe6-8272-4621f65e032c" providerId="ADAL" clId="{F8782ACA-4B20-455C-A66B-D7BDA2B7F5EC}" dt="2025-12-05T10:22:55.264" v="345" actId="478"/>
          <ac:spMkLst>
            <pc:docMk/>
            <pc:sldMk cId="1035134765" sldId="2147483358"/>
            <ac:spMk id="7" creationId="{6095AAA4-DB2D-5FA1-C3BA-8C68E119EA92}"/>
          </ac:spMkLst>
        </pc:spChg>
        <pc:spChg chg="del">
          <ac:chgData name="Anastasia Droungani" userId="09c5df22-b6e2-4fe6-8272-4621f65e032c" providerId="ADAL" clId="{F8782ACA-4B20-455C-A66B-D7BDA2B7F5EC}" dt="2025-12-05T10:22:51.649" v="344" actId="478"/>
          <ac:spMkLst>
            <pc:docMk/>
            <pc:sldMk cId="1035134765" sldId="2147483358"/>
            <ac:spMk id="35" creationId="{466E8217-0F62-AC59-C956-0024B47DE04B}"/>
          </ac:spMkLst>
        </pc:spChg>
        <pc:spChg chg="mod">
          <ac:chgData name="Anastasia Droungani" userId="09c5df22-b6e2-4fe6-8272-4621f65e032c" providerId="ADAL" clId="{F8782ACA-4B20-455C-A66B-D7BDA2B7F5EC}" dt="2025-12-05T10:22:59.553" v="367" actId="1035"/>
          <ac:spMkLst>
            <pc:docMk/>
            <pc:sldMk cId="1035134765" sldId="2147483358"/>
            <ac:spMk id="36" creationId="{0CDCE36A-1EF6-6BFD-4B90-8A5F4C53F3AC}"/>
          </ac:spMkLst>
        </pc:spChg>
        <pc:spChg chg="mod">
          <ac:chgData name="Anastasia Droungani" userId="09c5df22-b6e2-4fe6-8272-4621f65e032c" providerId="ADAL" clId="{F8782ACA-4B20-455C-A66B-D7BDA2B7F5EC}" dt="2025-12-05T10:23:05.559" v="394" actId="1035"/>
          <ac:spMkLst>
            <pc:docMk/>
            <pc:sldMk cId="1035134765" sldId="2147483358"/>
            <ac:spMk id="37" creationId="{A37DDA01-2204-1320-E83C-21166F2C17AB}"/>
          </ac:spMkLst>
        </pc:spChg>
        <pc:spChg chg="del">
          <ac:chgData name="Anastasia Droungani" userId="09c5df22-b6e2-4fe6-8272-4621f65e032c" providerId="ADAL" clId="{F8782ACA-4B20-455C-A66B-D7BDA2B7F5EC}" dt="2025-12-05T10:22:51.649" v="344" actId="478"/>
          <ac:spMkLst>
            <pc:docMk/>
            <pc:sldMk cId="1035134765" sldId="2147483358"/>
            <ac:spMk id="38" creationId="{7171BC71-9C6C-B113-501B-307F13C7079A}"/>
          </ac:spMkLst>
        </pc:spChg>
        <pc:spChg chg="mod">
          <ac:chgData name="Anastasia Droungani" userId="09c5df22-b6e2-4fe6-8272-4621f65e032c" providerId="ADAL" clId="{F8782ACA-4B20-455C-A66B-D7BDA2B7F5EC}" dt="2025-12-05T10:23:11.271" v="395" actId="1076"/>
          <ac:spMkLst>
            <pc:docMk/>
            <pc:sldMk cId="1035134765" sldId="2147483358"/>
            <ac:spMk id="39" creationId="{D2EFC50A-050B-9832-888E-8D812F72BAAF}"/>
          </ac:spMkLst>
        </pc:spChg>
        <pc:spChg chg="del">
          <ac:chgData name="Anastasia Droungani" userId="09c5df22-b6e2-4fe6-8272-4621f65e032c" providerId="ADAL" clId="{F8782ACA-4B20-455C-A66B-D7BDA2B7F5EC}" dt="2025-12-05T10:22:51.649" v="344" actId="478"/>
          <ac:spMkLst>
            <pc:docMk/>
            <pc:sldMk cId="1035134765" sldId="2147483358"/>
            <ac:spMk id="41" creationId="{421DF186-400E-9B7C-ED5E-625297EF1330}"/>
          </ac:spMkLst>
        </pc:spChg>
        <pc:spChg chg="mod">
          <ac:chgData name="Anastasia Droungani" userId="09c5df22-b6e2-4fe6-8272-4621f65e032c" providerId="ADAL" clId="{F8782ACA-4B20-455C-A66B-D7BDA2B7F5EC}" dt="2025-12-05T10:23:14.032" v="397" actId="20577"/>
          <ac:spMkLst>
            <pc:docMk/>
            <pc:sldMk cId="1035134765" sldId="2147483358"/>
            <ac:spMk id="42" creationId="{CEDD4A7C-CDEA-1CE7-A652-1A15D94B64C0}"/>
          </ac:spMkLst>
        </pc:spChg>
        <pc:spChg chg="mod">
          <ac:chgData name="Anastasia Droungani" userId="09c5df22-b6e2-4fe6-8272-4621f65e032c" providerId="ADAL" clId="{F8782ACA-4B20-455C-A66B-D7BDA2B7F5EC}" dt="2025-12-05T10:23:16.672" v="399" actId="20577"/>
          <ac:spMkLst>
            <pc:docMk/>
            <pc:sldMk cId="1035134765" sldId="2147483358"/>
            <ac:spMk id="43" creationId="{A0896119-935C-1957-D5A9-21B2B06EB45B}"/>
          </ac:spMkLst>
        </pc:spChg>
        <pc:spChg chg="del">
          <ac:chgData name="Anastasia Droungani" userId="09c5df22-b6e2-4fe6-8272-4621f65e032c" providerId="ADAL" clId="{F8782ACA-4B20-455C-A66B-D7BDA2B7F5EC}" dt="2025-12-05T10:22:51.649" v="344" actId="478"/>
          <ac:spMkLst>
            <pc:docMk/>
            <pc:sldMk cId="1035134765" sldId="2147483358"/>
            <ac:spMk id="44" creationId="{DE0F278D-0DF6-B1F8-3DC5-C029D243B917}"/>
          </ac:spMkLst>
        </pc:spChg>
        <pc:spChg chg="mod">
          <ac:chgData name="Anastasia Droungani" userId="09c5df22-b6e2-4fe6-8272-4621f65e032c" providerId="ADAL" clId="{F8782ACA-4B20-455C-A66B-D7BDA2B7F5EC}" dt="2025-12-05T10:23:19.404" v="401" actId="20577"/>
          <ac:spMkLst>
            <pc:docMk/>
            <pc:sldMk cId="1035134765" sldId="2147483358"/>
            <ac:spMk id="45" creationId="{6608AC98-D408-37D4-F281-D722B0E30EC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2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AE4013-AFE2-4F53-970C-A43B4C2B4B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D49E5D-C6DC-3987-F1AF-7BDA5A3157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9E31C4-55D3-5D4B-9B39-4C3A09EAAB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04FEB5-F543-DA3E-2711-92BA3A2FB8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7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41254255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0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10827355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1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6233C2-77FD-4B13-2FB9-7D4949523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CBB4D8-AF2F-F8C9-25A1-0FA6A64826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E36A74-157E-B4F3-FD38-F64D9A928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5E2F46-14D5-ED4E-384B-5DAB139352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2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2865828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C72634-4240-765F-2C7B-149241338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16F3EB-0AFC-D2E2-31D8-3744C39435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446487-A3D2-D5B9-D74A-A26CAD5DFA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">
              <a:solidFill>
                <a:srgbClr val="C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808C76-9CD5-9EAF-0091-B75C485BC4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3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33009426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A91AF1-AD3D-A4B9-5A3D-2FB60D9901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7D1860C-94DD-E197-D740-927AC9AB48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6E5C76F-ED20-D6A9-25A5-29314C10C1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C10260F-92B9-83D3-377B-CDF0F87ABD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4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6185331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8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EB0277-EB18-FBBF-3258-829F3A55A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1CEA2-2E85-8091-7703-EF6198D21A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AFC235-F0C1-E43E-980D-DDA3B43AE1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385518-659B-2BA4-DE47-F6CBE2A848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9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3195517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9647A-D4EA-0B37-BB36-D862CCC92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F0E01D-EEED-1815-F7C5-0A1494EBB3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11D33C-4C0F-5E75-7923-695AE416B4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E2D43C-30FC-3148-E5FA-035E9D619E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0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22917814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7A8EC9-FAD5-548B-0BA2-6AB5BE9AD1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4B48A3-B561-7989-65FA-791986F63B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CB487D-4F3E-E0E0-B426-4F5C069240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E2B4E8-1758-407D-BB40-C779CE8842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3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19857863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22B11-80E9-A4BF-F2AF-BEF22C369E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F02D0E-A095-13FE-EAE7-4C177F1D69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46F9AB-F4D6-300B-A15F-A034EF8BE8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695D4-5A1C-F83F-E961-13F9289755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5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3782461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42213-9FFF-BC99-F8F6-D572A55FF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208B77-977B-C08B-FB23-7D7A47F146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A003E7-C7AF-64AE-5BAA-045709E621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54AD6-4782-20C5-A6F4-0BF7B852D6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6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19099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753CF1-81C0-BBF5-DC01-1FF88B54A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68676A-3E6A-A053-C133-187B820C31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641835-5FCF-849B-A306-FF4E6C3E20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55489-56FB-0D4D-0B51-C498A159D9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7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30625412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 rtl="0">
              <a:buNone/>
            </a:pPr>
            <a:endParaRPr lang="e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8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3321214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5203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A3D3C40-CD78-0BA7-FD2B-413603CE259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Picture 6" descr="Text, logo&#10;&#10;Description automatically generated">
            <a:extLst>
              <a:ext uri="{FF2B5EF4-FFF2-40B4-BE49-F238E27FC236}">
                <a16:creationId xmlns:a16="http://schemas.microsoft.com/office/drawing/2014/main" id="{09A17B21-9D87-F2D6-6AE8-2A20B7F7C07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61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2438741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2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1.xml"/><Relationship Id="rId4" Type="http://schemas.openxmlformats.org/officeDocument/2006/relationships/image" Target="../media/image26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6" Type="http://schemas.openxmlformats.org/officeDocument/2006/relationships/image" Target="../media/image27.tif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3.xml"/><Relationship Id="rId5" Type="http://schemas.openxmlformats.org/officeDocument/2006/relationships/image" Target="../media/image19.png"/><Relationship Id="rId4" Type="http://schemas.openxmlformats.org/officeDocument/2006/relationships/image" Target="../media/image16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29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.xml"/><Relationship Id="rId6" Type="http://schemas.openxmlformats.org/officeDocument/2006/relationships/image" Target="../media/image32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7.xml"/><Relationship Id="rId6" Type="http://schemas.openxmlformats.org/officeDocument/2006/relationships/image" Target="../media/image3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4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2.tif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1.tiff"/><Relationship Id="rId5" Type="http://schemas.openxmlformats.org/officeDocument/2006/relationships/image" Target="../media/image40.tiff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6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0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43.tif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4.emf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1.x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45.tiff"/><Relationship Id="rId4" Type="http://schemas.openxmlformats.org/officeDocument/2006/relationships/image" Target="../media/image44.tif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2.xml"/><Relationship Id="rId6" Type="http://schemas.openxmlformats.org/officeDocument/2006/relationships/image" Target="../media/image46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8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.x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5" Type="http://schemas.openxmlformats.org/officeDocument/2006/relationships/image" Target="../media/image15.jpeg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8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>
            <a:extLst>
              <a:ext uri="{FF2B5EF4-FFF2-40B4-BE49-F238E27FC236}">
                <a16:creationId xmlns:a16="http://schemas.microsoft.com/office/drawing/2014/main" id="{014EBB4E-14F2-B549-DACA-3F1B89485581}"/>
              </a:ext>
            </a:extLst>
          </p:cNvPr>
          <p:cNvSpPr/>
          <p:nvPr/>
        </p:nvSpPr>
        <p:spPr>
          <a:xfrm>
            <a:off x="0" y="-80686"/>
            <a:ext cx="12192000" cy="63544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l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l" sz="2000" noProof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-80685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D472AA2-3842-90B4-F546-C201503E3E1A}"/>
              </a:ext>
            </a:extLst>
          </p:cNvPr>
          <p:cNvSpPr/>
          <p:nvPr/>
        </p:nvSpPr>
        <p:spPr>
          <a:xfrm>
            <a:off x="0" y="-80685"/>
            <a:ext cx="12192000" cy="3860800"/>
          </a:xfrm>
          <a:prstGeom prst="rect">
            <a:avLst/>
          </a:prstGeom>
          <a:gradFill>
            <a:gsLst>
              <a:gs pos="0">
                <a:schemeClr val="tx1">
                  <a:alpha val="85000"/>
                </a:schemeClr>
              </a:gs>
              <a:gs pos="100000">
                <a:schemeClr val="tx1">
                  <a:alpha val="0"/>
                </a:schemeClr>
              </a:gs>
              <a:gs pos="62000">
                <a:schemeClr val="tx1">
                  <a:alpha val="25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>
              <a:solidFill>
                <a:schemeClr val="tx1"/>
              </a:solidFill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58DFDC5-4E74-B7DF-0C36-CE66B553A5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97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DFDC5-4E74-B7DF-0C36-CE66B553A5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58509"/>
            <a:ext cx="3725022" cy="1292662"/>
          </a:xfrm>
        </p:spPr>
        <p:txBody>
          <a:bodyPr vert="horz">
            <a:spAutoFit/>
          </a:bodyPr>
          <a:lstStyle/>
          <a:p>
            <a:pPr algn="l" rtl="0">
              <a:lnSpc>
                <a:spcPct val="100000"/>
              </a:lnSpc>
            </a:pPr>
            <a:r>
              <a:rPr lang="el" sz="2800" b="1" i="0" u="none" baseline="0" dirty="0"/>
              <a:t>Nilfisk VP500</a:t>
            </a:r>
            <a:br>
              <a:rPr lang="el" sz="2800" dirty="0"/>
            </a:br>
            <a:r>
              <a:rPr lang="el" sz="1400" b="0" i="1" u="none" baseline="0" dirty="0">
                <a:latin typeface="+mn-lt"/>
                <a:ea typeface="+mn-lt"/>
                <a:cs typeface="+mn-lt"/>
              </a:rPr>
              <a:t>Επαγγελματικές απορροφητικές σκούπες στερεών</a:t>
            </a:r>
            <a:br>
              <a:rPr lang="el" sz="2000" b="0" dirty="0">
                <a:latin typeface="+mn-lt"/>
              </a:rPr>
            </a:br>
            <a:endParaRPr lang="el" sz="2800" noProof="0" dirty="0"/>
          </a:p>
        </p:txBody>
      </p:sp>
      <p:pic>
        <p:nvPicPr>
          <p:cNvPr id="4" name="Picture 3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8956B7AB-2BCE-C88B-F6E1-5005352690D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5784" y="1590264"/>
            <a:ext cx="3667420" cy="406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74A6D9-D14E-003F-4B09-190992716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18220CA-B854-5100-DF52-E03480C3F7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18220CA-B854-5100-DF52-E03480C3F7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6561C4-EFB7-A35D-B8B2-BBB2367A27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Διαμόρφωση της σειράς VP500 | Πώς είναι εξοπλισμένα τα μηχανήματα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4D26BA6-E6EB-5C3A-8CD8-702971FBB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dirty="0"/>
              <a:t>2</a:t>
            </a:r>
            <a:r>
              <a:rPr lang="el" b="1" i="0" u="none" baseline="0" dirty="0"/>
              <a:t> | Νέα απορροφητική σκούπα με μπαταρία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EEEB2C-886D-746F-8756-766F1C2A4E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2690984" cy="153888"/>
          </a:xfrm>
        </p:spPr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F455E9-F9A9-A16E-41DC-E86F15F99D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0</a:t>
            </a:fld>
            <a:endParaRPr lang="el" noProof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BB01EF8-9666-32CB-0DD3-902E60522E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5275370"/>
              </p:ext>
            </p:extLst>
          </p:nvPr>
        </p:nvGraphicFramePr>
        <p:xfrm>
          <a:off x="482191" y="1411924"/>
          <a:ext cx="7486704" cy="4864608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1236876777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248509527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4013411153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331672091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676867882"/>
                    </a:ext>
                  </a:extLst>
                </a:gridCol>
                <a:gridCol w="85752">
                  <a:extLst>
                    <a:ext uri="{9D8B030D-6E8A-4147-A177-3AD203B41FA5}">
                      <a16:colId xmlns:a16="http://schemas.microsoft.com/office/drawing/2014/main" val="959320649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42754286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406250848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3335966171"/>
                    </a:ext>
                  </a:extLst>
                </a:gridCol>
                <a:gridCol w="85752">
                  <a:extLst>
                    <a:ext uri="{9D8B030D-6E8A-4147-A177-3AD203B41FA5}">
                      <a16:colId xmlns:a16="http://schemas.microsoft.com/office/drawing/2014/main" val="73632062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χώρας</a:t>
                      </a:r>
                    </a:p>
                  </a:txBody>
                  <a:tcPr marL="45720" marR="0" marT="9144" marB="9144" anchor="ctr">
                    <a:lnL>
                      <a:noFill/>
                    </a:lnL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el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el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ΠΑΓΚΟΣΜΙΑ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el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EU/UK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el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90222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el" sz="6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ριθμός είδους</a:t>
                      </a:r>
                    </a:p>
                  </a:txBody>
                  <a:tcPr marL="4572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el" sz="6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el" sz="6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191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02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16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0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126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el" sz="6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Περιγραφή</a:t>
                      </a:r>
                    </a:p>
                  </a:txBody>
                  <a:tcPr marL="4572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ημείωση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Μηχάνημα μόνο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EU/UK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EU/UK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2BP EU/UK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53075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Αξεσουάρ 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62637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ωλήνε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3422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ωλήνας επέκτασης από χάλυβα D32 - Μαύρο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246 04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86691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ωλήνας επέκτασης από αλουμίνιο - Μαύρο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7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21681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Τηλεσκοπικός σωλήνας από αλουμίνιο - Μαύρο/Μπλε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63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42525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ωλήνας επέκτασης από χάλυβα 450mm (μικρός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246 05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8114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Σωλήνας και λυγισμένο άκρο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061919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ύκαμπτος σωλήνας με συνδέσμους D3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9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25961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ύκαμπτος σωλήνας CPL με λυγισμένο άκρο D3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72959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ύκαμπτος σωλήνας CPL με λυγισμένο άκρο PREM D32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5327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Λυγισμένο άκρο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6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9495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Λυγισμένο άκρο PRE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5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1844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508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Ακροφύσια δαπέδου </a:t>
                      </a:r>
                    </a:p>
                  </a:txBody>
                  <a:tcPr marL="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7079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κροφύσιο πολλαπλών επιφανειών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6700 54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4238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υνδυαστικό ακροφύσιο RD295P με κλιπ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779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45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υνδυαστικό ακροφύσιο RD295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492 52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3120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υνδυαστικό ακροφύσιο RD277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1677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9977555"/>
                  </a:ext>
                </a:extLst>
              </a:tr>
              <a:tr h="65802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υνδυαστικό ακροφύσιο J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0514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1256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Φίλτρα και σακούλε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533883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ίλτρο HEPA 13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1250 6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62975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ίλτρο HEPA 14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3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0807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Τυπικό φίλτρο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44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8033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Προφίλτρο σακούλα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1432 5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65127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ίλτρο μοτέρ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0670 0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17802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ακούλα σκόνης φλις 10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236782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9669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άρτινη σακούλα σκόνης 5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236781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7234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άρτινη σακούλα σκόνης 10-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618 0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71256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παναχρησιμοποιήσιμη σακούλα σκόνης 1-P (ύφασμα)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22518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19327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ιτ συντήρησης VP300/400/500/700 – Light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4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0015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ιτ συντήρησης VP300/400/500/700 - Plus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455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42193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old" panose="02000000000000000000" pitchFamily="2" charset="0"/>
                        <a:ea typeface="Roboto Bold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4572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997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Λοιπά εξαρτήματα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373215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τρογγυλή βούρτσα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0 8244 5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95217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κροφύσιο για χαραμάδε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7 0146 5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2867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κροφύσιο HF Premium 350m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308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802857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κροφύσιο HF Premium 495mm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1308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28636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ργαλείο για χαραμάδε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153040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8180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Μπαταρία και φορτιστής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66315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BP60 36V Li – 6Ah κόμπακτ μπαταρία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7902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 (x2)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51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BP100 36V Li – 10Ah κόμπακτ μπαταρία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79021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2685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BC215 36V ταχυφορτιστής – χωρίς καλώδιο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6476050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61601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αλώδιο φόρτισης ΕΕ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2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ήκος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55721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αλώδιο φόρτισης ΗΒ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3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ήκος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546713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αλώδιο φόρτισης AU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4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ήκος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64858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αλώδιο φορτιστή CN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5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ήκος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85240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αλώδιο φόρτισης JP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6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ήκος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99242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αλώδιο φόρτισης ΗΠΑ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4757</a:t>
                      </a:r>
                    </a:p>
                  </a:txBody>
                  <a:tcPr marL="4572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ήκος 1 m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9144" marB="9144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5097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062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F904E5-0DD9-8773-C63D-3F93012B13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280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904E5-0DD9-8773-C63D-3F93012B13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1C7D74D-965F-A19E-4D13-2C40339497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82560" y="0"/>
            <a:ext cx="6209440" cy="628489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rtl="0"/>
            <a:r>
              <a:rPr lang="el" b="0" i="0" u="none" baseline="0"/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90D7BC-7307-57BB-DAC8-792BC9BA3C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 algn="l" rtl="0">
              <a:buNone/>
              <a:tabLst>
                <a:tab pos="2867025" algn="l"/>
              </a:tabLst>
            </a:pPr>
            <a:endParaRPr lang="el" sz="1600" noProof="0">
              <a:latin typeface="+mj-lt"/>
            </a:endParaRPr>
          </a:p>
          <a:p>
            <a:pPr marL="0" indent="0" algn="l" rtl="0">
              <a:buNone/>
              <a:tabLst>
                <a:tab pos="2867025" algn="l"/>
              </a:tabLst>
            </a:pPr>
            <a:endParaRPr lang="el" sz="1600" noProof="0">
              <a:latin typeface="+mj-lt"/>
            </a:endParaRPr>
          </a:p>
          <a:p>
            <a:pPr marL="0" indent="0" algn="l" rtl="0">
              <a:buNone/>
              <a:tabLst>
                <a:tab pos="2867025" algn="l"/>
              </a:tabLst>
            </a:pPr>
            <a:r>
              <a:rPr lang="el" sz="1600" b="0" i="0" u="none" baseline="0">
                <a:latin typeface="+mj-lt"/>
                <a:ea typeface="+mj-lt"/>
                <a:cs typeface="+mj-lt"/>
              </a:rPr>
              <a:t>Νέα σειρά με επαγγελματικές απορροφητικές σκούπες</a:t>
            </a:r>
          </a:p>
          <a:p>
            <a:pPr marL="0" indent="0" algn="l" rtl="0">
              <a:buNone/>
              <a:tabLst>
                <a:tab pos="2867025" algn="l"/>
              </a:tabLst>
            </a:pPr>
            <a:r>
              <a:rPr lang="el" sz="1200" b="0" i="0" u="none" baseline="0">
                <a:solidFill>
                  <a:schemeClr val="accent3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Συμπαγές μηχάνημα με δοχείο στερεών</a:t>
            </a:r>
          </a:p>
          <a:p>
            <a:pPr marL="0" indent="0" algn="l" rtl="0">
              <a:buNone/>
              <a:tabLst>
                <a:tab pos="2867025" algn="l"/>
              </a:tabLst>
            </a:pPr>
            <a:endParaRPr lang="el" b="1" noProof="0"/>
          </a:p>
          <a:p>
            <a:pPr marL="0" indent="0" algn="l" rtl="0">
              <a:buNone/>
              <a:tabLst>
                <a:tab pos="2867025" algn="l"/>
              </a:tabLst>
            </a:pPr>
            <a:endParaRPr lang="el" b="1" noProof="0"/>
          </a:p>
          <a:p>
            <a:pPr marL="0" indent="0" algn="l" rtl="0">
              <a:buNone/>
              <a:tabLst>
                <a:tab pos="2867025" algn="l"/>
              </a:tabLst>
            </a:pPr>
            <a:r>
              <a:rPr lang="el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Σειρά VP300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	</a:t>
            </a:r>
            <a:r>
              <a:rPr lang="el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Λανσάρισμα</a:t>
            </a:r>
          </a:p>
          <a:p>
            <a:pPr algn="l" rtl="0">
              <a:tabLst>
                <a:tab pos="2867025" algn="l"/>
              </a:tabLst>
            </a:pPr>
            <a:r>
              <a:rPr lang="el" sz="1200" b="0" i="0" u="none" baseline="0"/>
              <a:t>VP300 (καλώδιο με χειροκίνητη επανατύλιξη)	</a:t>
            </a:r>
            <a:r>
              <a:rPr lang="el" sz="1100" b="0" i="1" u="none" baseline="0"/>
              <a:t>Φεβ 2025</a:t>
            </a:r>
          </a:p>
          <a:p>
            <a:pPr algn="l" rtl="0">
              <a:tabLst>
                <a:tab pos="2867025" algn="l"/>
              </a:tabLst>
            </a:pPr>
            <a:r>
              <a:rPr lang="el" sz="1200" b="0" i="0" u="none" baseline="0"/>
              <a:t>VP400 (καλώδιο με επανατύλιξη στη λαβή)	</a:t>
            </a:r>
            <a:r>
              <a:rPr lang="el" sz="1100" b="0" i="1" u="none" baseline="0"/>
              <a:t>Φεβ 2025</a:t>
            </a:r>
          </a:p>
          <a:p>
            <a:pPr algn="l" rtl="0">
              <a:tabLst>
                <a:tab pos="2867025" algn="l"/>
              </a:tabLst>
            </a:pPr>
            <a:r>
              <a:rPr lang="el" sz="1200" b="0" i="0" u="none" baseline="0"/>
              <a:t>VP500 (μπαταρία)</a:t>
            </a:r>
            <a:r>
              <a:rPr lang="el" sz="1200" b="0" i="0" u="none" baseline="0">
                <a:sym typeface="Wingdings" panose="05000000000000000000" pitchFamily="2" charset="2"/>
              </a:rPr>
              <a:t>*	</a:t>
            </a:r>
            <a:r>
              <a:rPr lang="el" sz="1100" b="0" i="1" u="none" baseline="0">
                <a:sym typeface="Wingdings" panose="05000000000000000000" pitchFamily="2" charset="2"/>
              </a:rPr>
              <a:t>Δεκ 2025</a:t>
            </a:r>
            <a:endParaRPr lang="el" sz="1100" i="1" noProof="0"/>
          </a:p>
          <a:p>
            <a:pPr marL="0" indent="0" algn="l" rtl="0">
              <a:buNone/>
              <a:tabLst>
                <a:tab pos="2867025" algn="l"/>
              </a:tabLst>
            </a:pPr>
            <a:endParaRPr lang="el" noProof="0"/>
          </a:p>
          <a:p>
            <a:pPr marL="0" indent="0" algn="l" rtl="0">
              <a:buNone/>
              <a:tabLst>
                <a:tab pos="2867025" algn="l"/>
              </a:tabLst>
            </a:pPr>
            <a:endParaRPr lang="el" noProof="0"/>
          </a:p>
          <a:p>
            <a:pPr marL="0" indent="0" algn="l" rtl="0">
              <a:buNone/>
              <a:tabLst>
                <a:tab pos="2867025" algn="l"/>
              </a:tabLst>
            </a:pPr>
            <a:r>
              <a:rPr lang="el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P700</a:t>
            </a:r>
            <a:r>
              <a:rPr lang="el" b="0" i="0" u="none" baseline="0"/>
              <a:t> (καλώδιο με χειροκίνητη επανατύλιξη)</a:t>
            </a:r>
            <a:r>
              <a:rPr lang="el" b="0" i="0" u="none" baseline="0">
                <a:sym typeface="Wingdings" panose="05000000000000000000" pitchFamily="2" charset="2"/>
              </a:rPr>
              <a:t> 	</a:t>
            </a:r>
            <a:r>
              <a:rPr lang="el" sz="1100" b="0" i="1" u="none" baseline="0">
                <a:sym typeface="Wingdings" panose="05000000000000000000" pitchFamily="2" charset="2"/>
              </a:rPr>
              <a:t>Δεκ 2025</a:t>
            </a:r>
            <a:endParaRPr lang="el" sz="1100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BF7C6-1FC2-45AC-8AAE-AEF21722C61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919584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9098D-6848-48DB-9A7B-8900C67780E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1</a:t>
            </a:fld>
            <a:endParaRPr lang="el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F9D87C-F01C-440F-A141-FC5A989DD3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Λεπτομέρειες ονομασίας στο σύστημα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DC7FDD-8A74-4DEC-86DE-5FCF4AFC1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777607" cy="388013"/>
          </a:xfrm>
        </p:spPr>
        <p:txBody>
          <a:bodyPr vert="horz"/>
          <a:lstStyle/>
          <a:p>
            <a:pPr algn="l" rtl="0"/>
            <a:r>
              <a:rPr lang="el" b="1" i="0" u="none" baseline="0" dirty="0"/>
              <a:t>2 | Νέα απορροφητική σκούπα με μπαταρία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28A091-260E-03A8-8990-6D922C386BF6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113623" y="1659285"/>
            <a:ext cx="6706265" cy="3539430"/>
          </a:xfrm>
        </p:spPr>
        <p:txBody>
          <a:bodyPr wrap="square">
            <a:spAutoFit/>
          </a:bodyPr>
          <a:lstStyle/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b="0" i="0" u="none" baseline="0" dirty="0">
                <a:latin typeface="+mj-lt"/>
                <a:ea typeface="+mj-lt"/>
                <a:cs typeface="+mj-lt"/>
              </a:rPr>
              <a:t>Λεπτομέρειες ονομασίας*</a:t>
            </a:r>
            <a:r>
              <a:rPr lang="en-US" dirty="0">
                <a:latin typeface="+mj-lt"/>
                <a:ea typeface="+mj-lt"/>
                <a:cs typeface="+mj-lt"/>
              </a:rPr>
              <a:t>                 </a:t>
            </a:r>
            <a:r>
              <a:rPr lang="el" b="0" i="0" u="none" baseline="0" dirty="0">
                <a:latin typeface="+mj-lt"/>
                <a:ea typeface="+mj-lt"/>
                <a:cs typeface="+mj-lt"/>
              </a:rPr>
              <a:t>Εάν δεν αποτελεί μέρος του ονόματος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endParaRPr lang="el" sz="1200" noProof="0" dirty="0"/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R</a:t>
            </a:r>
            <a:r>
              <a:rPr lang="el" sz="1200" b="0" i="0" u="none" baseline="0" dirty="0"/>
              <a:t>	Ανακυκλωμένο υλικό**	</a:t>
            </a:r>
            <a:r>
              <a:rPr lang="en-US" sz="1200" b="0" i="0" u="none" baseline="0" dirty="0"/>
              <a:t>     </a:t>
            </a:r>
            <a:r>
              <a:rPr lang="el" sz="1200" b="0" i="0" u="none" baseline="0" dirty="0"/>
              <a:t>Κανονικό υλικό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HEPA / H</a:t>
            </a:r>
            <a:r>
              <a:rPr lang="el" sz="1200" b="0" i="0" u="none" baseline="0" dirty="0"/>
              <a:t>	Φιλτράρισμα HEPA (H13 ή H14)	</a:t>
            </a:r>
            <a:r>
              <a:rPr lang="en-US" sz="1200" b="0" i="0" u="none" baseline="0" dirty="0"/>
              <a:t>     </a:t>
            </a:r>
            <a:r>
              <a:rPr lang="el" sz="1200" b="0" i="0" u="none" baseline="0" dirty="0"/>
              <a:t>Αφρώδες/Στάνταρ φίλτρο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Basic</a:t>
            </a:r>
            <a:r>
              <a:rPr lang="el" sz="1200" b="0" i="0" u="none" baseline="0" dirty="0"/>
              <a:t>	Σταθερό καλώδιο	</a:t>
            </a:r>
            <a:r>
              <a:rPr lang="en-US" sz="1200" b="0" i="0" u="none" baseline="0" dirty="0"/>
              <a:t>    </a:t>
            </a:r>
            <a:r>
              <a:rPr lang="el" sz="1200" b="0" i="0" u="none" baseline="0" dirty="0"/>
              <a:t>Αποσπώμενο καλώδιο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endParaRPr lang="el" sz="1200" noProof="0" dirty="0"/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X</a:t>
            </a:r>
            <a:r>
              <a:rPr lang="el" sz="1200" b="0" i="0" u="none" baseline="0" dirty="0"/>
              <a:t>	</a:t>
            </a: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Έξτρα</a:t>
            </a:r>
            <a:r>
              <a:rPr lang="el" sz="1200" b="0" i="0" u="none" baseline="0" dirty="0"/>
              <a:t> μήκος καλωδίου (π.χ. 15m)	</a:t>
            </a:r>
            <a:r>
              <a:rPr lang="en-US" sz="1200" b="0" i="0" u="none" baseline="0" dirty="0"/>
              <a:t>     </a:t>
            </a:r>
            <a:r>
              <a:rPr lang="el" sz="1200" b="0" i="0" u="none" baseline="0" dirty="0"/>
              <a:t>10m καλώδιο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E</a:t>
            </a:r>
            <a:r>
              <a:rPr lang="el" sz="1200" b="0" i="0" u="none" baseline="0" dirty="0"/>
              <a:t>	</a:t>
            </a: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Ε</a:t>
            </a:r>
            <a:r>
              <a:rPr lang="el" sz="1200" b="0" i="0" u="none" baseline="0" dirty="0"/>
              <a:t>ξωτ. σωλήνες αλουμινίου	</a:t>
            </a:r>
            <a:r>
              <a:rPr lang="en-US" sz="1200" b="0" i="0" u="none" baseline="0" dirty="0"/>
              <a:t>     </a:t>
            </a:r>
            <a:r>
              <a:rPr lang="el" sz="1200" b="0" i="0" u="none" baseline="0" dirty="0"/>
              <a:t>Εξωτ. χαλύβδινοι σωλήνες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T</a:t>
            </a:r>
            <a:r>
              <a:rPr lang="el" sz="1200" b="0" i="0" u="none" baseline="0" dirty="0"/>
              <a:t>	</a:t>
            </a: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Τ</a:t>
            </a:r>
            <a:r>
              <a:rPr lang="el" sz="1200" b="0" i="0" u="none" baseline="0" dirty="0"/>
              <a:t>ηλεσκοπικός σωλήνας αλουμινίου</a:t>
            </a:r>
            <a:r>
              <a:rPr lang="en-US" sz="1200" b="0" i="0" u="none" baseline="0" dirty="0"/>
              <a:t>  </a:t>
            </a:r>
            <a:r>
              <a:rPr lang="el" sz="1200" b="0" i="0" u="none" baseline="0" dirty="0"/>
              <a:t>Εξωτ. χαλύβδινοι σωλήνες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</a:t>
            </a:r>
            <a:r>
              <a:rPr lang="el" sz="1200" b="0" i="0" u="none" baseline="0" dirty="0"/>
              <a:t>	</a:t>
            </a: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Συνδυαστικό</a:t>
            </a:r>
            <a:r>
              <a:rPr lang="el" sz="1200" b="0" i="0" u="none" baseline="0" dirty="0"/>
              <a:t> ακροφύσιο	</a:t>
            </a:r>
            <a:r>
              <a:rPr lang="en-US" sz="1200" b="0" i="0" u="none" baseline="0" dirty="0"/>
              <a:t>     </a:t>
            </a:r>
            <a:r>
              <a:rPr lang="el" sz="1200" b="0" i="0" u="none" baseline="0" dirty="0"/>
              <a:t>Ακροφύσιο πολλαπλών επιφανειών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</a:t>
            </a:r>
            <a:r>
              <a:rPr lang="el" sz="1200" b="0" i="0" u="none" baseline="0" dirty="0"/>
              <a:t>	</a:t>
            </a: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</a:t>
            </a:r>
            <a:r>
              <a:rPr lang="el" sz="1200" b="0" i="0" u="none" baseline="0" dirty="0"/>
              <a:t>remium 2K λυγισμένο άκρο	</a:t>
            </a:r>
            <a:r>
              <a:rPr lang="en-US" sz="1200" b="0" i="0" u="none" baseline="0" dirty="0"/>
              <a:t>     </a:t>
            </a:r>
            <a:r>
              <a:rPr lang="el" sz="1200" b="0" i="0" u="none" baseline="0" dirty="0"/>
              <a:t>Βασικό λυγισμένο άκρο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endParaRPr lang="el" sz="1200" noProof="0" dirty="0"/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S2</a:t>
            </a:r>
            <a:r>
              <a:rPr lang="el" sz="1200" b="0" i="0" u="none" baseline="0" dirty="0"/>
              <a:t>	</a:t>
            </a: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Διπλή</a:t>
            </a:r>
            <a:r>
              <a:rPr lang="el" sz="1200" b="0" i="0" u="none" baseline="0" dirty="0"/>
              <a:t> ταχύτητα λειτουργίας*	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endParaRPr lang="el" sz="1200" noProof="0" dirty="0"/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BP</a:t>
            </a:r>
            <a:r>
              <a:rPr lang="el" sz="1200" b="0" i="0" u="none" baseline="0" dirty="0"/>
              <a:t>	6Ah μπαταρία+φορτιστής συμπεριλαμβάνονται</a:t>
            </a:r>
          </a:p>
          <a:p>
            <a:pPr marL="0" indent="0" algn="l" rtl="0">
              <a:buNone/>
              <a:tabLst>
                <a:tab pos="809625" algn="l"/>
                <a:tab pos="3143250" algn="l"/>
              </a:tabLst>
            </a:pPr>
            <a:r>
              <a:rPr lang="el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BP+</a:t>
            </a:r>
            <a:r>
              <a:rPr lang="el" sz="1200" b="0" i="0" u="none" baseline="0" dirty="0"/>
              <a:t>	10Ah μπαταρία+φορτιστής συμπεριλαμβάνονται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DBCE83-3482-D693-1F18-1B1C0FFC913B}"/>
              </a:ext>
            </a:extLst>
          </p:cNvPr>
          <p:cNvSpPr txBox="1"/>
          <p:nvPr/>
        </p:nvSpPr>
        <p:spPr>
          <a:xfrm>
            <a:off x="5982559" y="5672914"/>
            <a:ext cx="60783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l" sz="800" b="0" i="1" u="none" baseline="0" dirty="0"/>
              <a:t>** Τα αξεσουάρ και η λειτουργία ταχύτητας δεν αποτελούν μέρος της ονομασίας μάρκετινγκ των μοντέλων μηχανημάτων με μπαταρία (κύρια εστίαση στη διαμόρφωση μπαταρίας), </a:t>
            </a:r>
            <a:br>
              <a:rPr lang="el" sz="800" i="1" dirty="0"/>
            </a:br>
            <a:r>
              <a:rPr lang="el" sz="800" b="0" i="1" u="none" baseline="0" dirty="0"/>
              <a:t>αλλά η διπλή ταχύτητα φαίνεται στην ονομασία της πινακίδας τύπου. Όλα τα VP500 είναι στάνταρ 2 ταχυτήτων</a:t>
            </a:r>
            <a:br>
              <a:rPr lang="el" sz="800" i="1" dirty="0"/>
            </a:br>
            <a:r>
              <a:rPr lang="el" sz="800" b="0" i="1" u="none" baseline="0" dirty="0"/>
              <a:t>** Όλα τα VP500 ανακυκλώνονται με το ίδιο ποσοστό όπως το VP300 (38%)</a:t>
            </a:r>
          </a:p>
        </p:txBody>
      </p:sp>
    </p:spTree>
    <p:extLst>
      <p:ext uri="{BB962C8B-B14F-4D97-AF65-F5344CB8AC3E}">
        <p14:creationId xmlns:p14="http://schemas.microsoft.com/office/powerpoint/2010/main" val="118934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B1BB43-DCA1-9ECB-150E-A2635EE7E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D7F59-8B99-0CE4-97DE-FA0C28FDA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869442E-AD03-4F28-EF23-D8BF6613661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>
          <a:xfrm>
            <a:off x="920896" y="6529068"/>
            <a:ext cx="2800712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D0BDD62-72B6-31CA-F3BD-FD818EFC97A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2</a:t>
            </a:fld>
            <a:endParaRPr lang="el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95493F4-DA4D-76B1-5493-1219366B914E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Υπόβαθρο και VP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69EFB1F-BEC7-3A62-12C1-0FA5E1370010}"/>
              </a:ext>
            </a:extLst>
          </p:cNvPr>
          <p:cNvSpPr txBox="1">
            <a:spLocks/>
          </p:cNvSpPr>
          <p:nvPr/>
        </p:nvSpPr>
        <p:spPr>
          <a:xfrm>
            <a:off x="1968167" y="2232360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Νέα απορροφητική σκούπα με μπαταρία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30253DB-67ED-A2F1-5580-2E2C61DCF9AE}"/>
              </a:ext>
            </a:extLst>
          </p:cNvPr>
          <p:cNvSpPr txBox="1">
            <a:spLocks/>
          </p:cNvSpPr>
          <p:nvPr/>
        </p:nvSpPr>
        <p:spPr>
          <a:xfrm>
            <a:off x="1968167" y="3171710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Κυριότερα σημεία πώλησης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A022B260-CBB0-0FEB-E558-6AA3EF44F02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4152151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 dirty="0">
                <a:solidFill>
                  <a:schemeClr val="bg2"/>
                </a:solidFill>
              </a:rPr>
              <a:t>Άλλο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A779C277-42E9-5143-E13D-7D4F72ECF915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l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ECE92A3A-8976-9F07-C6D2-41E9A25D1255}"/>
              </a:ext>
            </a:extLst>
          </p:cNvPr>
          <p:cNvSpPr txBox="1">
            <a:spLocks/>
          </p:cNvSpPr>
          <p:nvPr/>
        </p:nvSpPr>
        <p:spPr>
          <a:xfrm>
            <a:off x="1117600" y="2232360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dirty="0"/>
              <a:t>2</a:t>
            </a:r>
            <a:endParaRPr lang="el" b="1" i="0" u="none" baseline="0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668F9D77-C93C-1CE9-A97B-FC8F2D95CEC7}"/>
              </a:ext>
            </a:extLst>
          </p:cNvPr>
          <p:cNvSpPr txBox="1">
            <a:spLocks/>
          </p:cNvSpPr>
          <p:nvPr/>
        </p:nvSpPr>
        <p:spPr>
          <a:xfrm>
            <a:off x="1117600" y="3171710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l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el" dirty="0"/>
              <a:t>3</a:t>
            </a:r>
            <a:endParaRPr lang="el" b="1" i="0" u="none" baseline="0" dirty="0"/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D9EE3038-544F-E9FE-13B6-2230A642510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4152151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l" dirty="0"/>
              <a:t>4</a:t>
            </a:r>
            <a:endParaRPr lang="el" b="1" i="0" u="none" baseline="0" dirty="0"/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FBA5ABD4-63F3-09F3-03A7-19E3951F711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199176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370461-1DE0-4EED-9C91-F6699CD31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E9E462E-FF78-46D4-7CE2-BC804686B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3009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E9E462E-FF78-46D4-7CE2-BC804686B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162A602-2A93-34E5-BB1B-4DC7912819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Παλιό έναντι νέου (VP500 σε αναβάθμιση = περιοχή με σκούρο γκρι χρώμα)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F4393F-3757-7BB2-1DDA-4701BC5DE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dirty="0"/>
              <a:t>3</a:t>
            </a:r>
            <a:r>
              <a:rPr lang="el" b="1" i="0" u="none" baseline="0" dirty="0"/>
              <a:t> | Χαρακτηριστικά του VP50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4756A2-C2C1-24A8-EDE8-A17C05B4BF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2956160" cy="153888"/>
          </a:xfrm>
        </p:spPr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CBEE95-A886-3793-8A66-A0C1F02A5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3</a:t>
            </a:fld>
            <a:endParaRPr lang="el" noProof="0"/>
          </a:p>
        </p:txBody>
      </p:sp>
      <p:graphicFrame>
        <p:nvGraphicFramePr>
          <p:cNvPr id="10" name="Table 3">
            <a:extLst>
              <a:ext uri="{FF2B5EF4-FFF2-40B4-BE49-F238E27FC236}">
                <a16:creationId xmlns:a16="http://schemas.microsoft.com/office/drawing/2014/main" id="{04B08F06-2D9F-3EB0-936B-17236E153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226809"/>
              </p:ext>
            </p:extLst>
          </p:nvPr>
        </p:nvGraphicFramePr>
        <p:xfrm>
          <a:off x="475521" y="1791511"/>
          <a:ext cx="5220000" cy="4212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4472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803528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Χαρακτηριστικό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VP600 B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VP500 (Νέο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Προφυλακτήρας μηχανήματος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Ανθεκτικός ποδοδιακόπτης ισχύος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Θέση στάθμευσης σωλήνα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Φίλτρο ΗΕΡΑ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Αποθήκευση αξεσουάρ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99128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Συμπαγές και ελαφρύ (μικρότερο αποτύπωμα και </a:t>
                      </a:r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Bold" panose="02000000000000000000" pitchFamily="2" charset="0"/>
                          <a:cs typeface="Roboto Bold" panose="02000000000000000000" pitchFamily="2" charset="0"/>
                        </a:rPr>
                        <a:t>πολύ ελαφρύτερο</a:t>
                      </a:r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n-lt"/>
                          <a:ea typeface="Roboto Bold" panose="02000000000000000000" pitchFamily="2" charset="0"/>
                        </a:rPr>
                        <a:t>)</a:t>
                      </a:r>
                      <a:endParaRPr lang="el" sz="900" b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43714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Νέα σειρά ελαφριών και συμπαγών μπαταριών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800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Προφίλτρο (αντοχή και διασφαλίζει μεγαλύτερη διάρκεια απόδοσης (φιλτράρισμα αναρρόφησης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kern="1200" baseline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Πρόσβαση/αλλαγή φίλτρου</a:t>
                      </a:r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 HEPA χωρίς εργαλεία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Διεπαφή με LED στο μηχάνημα (χωρητικότητα μπαταρίας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409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Εργονομική λαβή + εργονομικό μάνδαλο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48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Επισημασμένα σημεία αφής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25284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Εμπορική/επαγγελματική εμφάνιση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Κοινή χρήση πολλαπλών εξαρτημάτων με το VP300/4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963475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B906A683-6B20-34E0-233A-49999AE10F74}"/>
              </a:ext>
            </a:extLst>
          </p:cNvPr>
          <p:cNvSpPr txBox="1"/>
          <p:nvPr/>
        </p:nvSpPr>
        <p:spPr>
          <a:xfrm>
            <a:off x="666035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el" sz="1300" b="0" i="0" u="none" baseline="0">
                <a:latin typeface="+mj-lt"/>
                <a:ea typeface="+mj-lt"/>
                <a:cs typeface="+mj-lt"/>
              </a:rPr>
              <a:t>VP600 με μπαταρία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F44367-6233-B8AC-7FD0-E8897ECC4458}"/>
              </a:ext>
            </a:extLst>
          </p:cNvPr>
          <p:cNvSpPr txBox="1"/>
          <p:nvPr/>
        </p:nvSpPr>
        <p:spPr>
          <a:xfrm>
            <a:off x="9430474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el" sz="1300" b="0" i="0" u="none" baseline="0">
                <a:latin typeface="+mj-lt"/>
                <a:ea typeface="+mj-lt"/>
                <a:cs typeface="+mj-lt"/>
              </a:rPr>
              <a:t>VP50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C406DA-6BF5-4ECA-8ABD-FFDB5B8518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6466" y="939378"/>
            <a:ext cx="4710516" cy="47105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A093FC7-743C-99E0-6C5C-9A2A36B3D02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9691" y="2395130"/>
            <a:ext cx="2093908" cy="231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20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50977A1-6A21-630F-6090-F24D7F09B7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083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977A1-6A21-630F-6090-F24D7F09B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9AE3FB89-9E20-E861-E7E7-3A78B5E2BA6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2601" y="2423127"/>
            <a:ext cx="2907586" cy="322057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EC82846-FA63-9EB6-7F25-AE9BDC290124}"/>
              </a:ext>
            </a:extLst>
          </p:cNvPr>
          <p:cNvSpPr txBox="1"/>
          <p:nvPr/>
        </p:nvSpPr>
        <p:spPr>
          <a:xfrm>
            <a:off x="7941110" y="5199459"/>
            <a:ext cx="3766415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Ελευθερία χωρίς καλώδιο και μικρό αποτύπωμα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Συνεχής καθαρισμός χωρίς περιορισμούς - Επιτρέπει την κινητικότητα και την αποτελεσματικότητα σε νέα ύψη, ιδανική για περιορισμένους χώρους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116E9-3ED2-7DA7-D625-619858D9A8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2983592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DB100-183E-B96C-EDD4-0EC6BD3E670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4</a:t>
            </a:fld>
            <a:endParaRPr lang="el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0C200C-BD2A-935D-6788-51C7FF3E0C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Κυριότερα σημεία πώλησης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2DD5482-BCFF-8610-CBDA-B28D6EC0A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dirty="0"/>
              <a:t>3</a:t>
            </a:r>
            <a:r>
              <a:rPr lang="el" b="1" i="0" u="none" baseline="0" dirty="0"/>
              <a:t> | Χαρακτηριστικά του VP50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8933E2-0318-DB82-9AAC-5A4443DDFA2C}"/>
              </a:ext>
            </a:extLst>
          </p:cNvPr>
          <p:cNvSpPr txBox="1"/>
          <p:nvPr/>
        </p:nvSpPr>
        <p:spPr>
          <a:xfrm>
            <a:off x="6809172" y="1503438"/>
            <a:ext cx="489835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Συμπαγής και ελαφριά σχεδίαση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Ελαφριά επαγγελματική απορροφητική σκούπα χωρίς καλώδιο </a:t>
            </a:r>
            <a:br>
              <a:rPr lang="el" sz="1100"/>
            </a:br>
            <a:r>
              <a:rPr lang="el" sz="1100" b="0" i="0" u="none" baseline="0"/>
              <a:t>- Μεταξύ των ελαφρύτερων στην κατηγορία της, ευέλικτη, μειώνει την καταπόνηση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28D166-F3E6-6716-3AFC-EB4B417F260C}"/>
              </a:ext>
            </a:extLst>
          </p:cNvPr>
          <p:cNvSpPr txBox="1"/>
          <p:nvPr/>
        </p:nvSpPr>
        <p:spPr>
          <a:xfrm>
            <a:off x="475488" y="1706571"/>
            <a:ext cx="365760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 dirty="0">
                <a:latin typeface="+mj-lt"/>
                <a:ea typeface="+mj-lt"/>
                <a:cs typeface="+mj-lt"/>
              </a:rPr>
              <a:t>Υψηλή απόδοση - σχεδόν επίπεδο μοντέλου με καλώδιο</a:t>
            </a:r>
            <a:br>
              <a:rPr lang="el" sz="1100" b="0" i="0" u="none" strike="noStrike" dirty="0">
                <a:effectLst/>
              </a:rPr>
            </a:br>
            <a:r>
              <a:rPr lang="el" sz="1100" b="0" i="0" u="none" strike="noStrike" baseline="0" dirty="0">
                <a:effectLst/>
              </a:rPr>
              <a:t>Ισχυρός ασύρματος καθαρισμός, μεταξύ των καλύτερων στην κατηγορία του</a:t>
            </a:r>
            <a:endParaRPr lang="el" sz="1100" noProof="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7466D7-96A8-858A-479C-869BB60AE383}"/>
              </a:ext>
            </a:extLst>
          </p:cNvPr>
          <p:cNvSpPr txBox="1"/>
          <p:nvPr/>
        </p:nvSpPr>
        <p:spPr>
          <a:xfrm>
            <a:off x="7941110" y="3495640"/>
            <a:ext cx="376641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sng" baseline="0">
                <a:latin typeface="+mj-lt"/>
                <a:ea typeface="+mj-lt"/>
                <a:cs typeface="+mj-lt"/>
              </a:rPr>
              <a:t>ΖΩΝΤΑΝΕΣ</a:t>
            </a:r>
            <a:r>
              <a:rPr lang="el" sz="1100" b="0" i="0" u="none" baseline="0">
                <a:latin typeface="+mj-lt"/>
                <a:ea typeface="+mj-lt"/>
                <a:cs typeface="+mj-lt"/>
              </a:rPr>
              <a:t> ενδείξεις επιπέδου μπαταρίας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4 λυχνίες LED παρέχουν άμεση ένδειξη κατάστασης κοιτώντας πίσω</a:t>
            </a:r>
            <a:r>
              <a:rPr lang="el" sz="1000" b="0" i="1" u="none" baseline="0"/>
              <a:t>)</a:t>
            </a:r>
            <a:endParaRPr lang="el" sz="1100" i="1" noProof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8C2262-24AD-A663-8D56-33D89D8E1847}"/>
              </a:ext>
            </a:extLst>
          </p:cNvPr>
          <p:cNvSpPr txBox="1"/>
          <p:nvPr/>
        </p:nvSpPr>
        <p:spPr>
          <a:xfrm>
            <a:off x="7960167" y="2590778"/>
            <a:ext cx="3747359" cy="45492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Μπαταρία – Σύστημα διαχείρισης μπαταρίας (BMS)</a:t>
            </a:r>
          </a:p>
          <a:p>
            <a:pPr algn="r" rtl="0">
              <a:lnSpc>
                <a:spcPct val="120000"/>
              </a:lnSpc>
            </a:pPr>
            <a:r>
              <a:rPr lang="el" sz="1050" b="0" i="0" u="none" baseline="0"/>
              <a:t>Σύστημα προστασίας της μπαταρίας, με έλεγχο τάσεων, θερμοκρασιών κ.λπ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43C182-5EC6-0D9D-70EE-B99A668E562D}"/>
              </a:ext>
            </a:extLst>
          </p:cNvPr>
          <p:cNvSpPr txBox="1"/>
          <p:nvPr/>
        </p:nvSpPr>
        <p:spPr>
          <a:xfrm>
            <a:off x="432865" y="2316203"/>
            <a:ext cx="3995928" cy="1072849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 dirty="0">
                <a:latin typeface="+mj-lt"/>
                <a:ea typeface="+mj-lt"/>
                <a:cs typeface="+mj-lt"/>
              </a:rPr>
              <a:t>Χαμηλή ηχητική στάθμη</a:t>
            </a:r>
          </a:p>
          <a:p>
            <a:pPr algn="l" rtl="0">
              <a:lnSpc>
                <a:spcPct val="120000"/>
              </a:lnSpc>
            </a:pPr>
            <a:r>
              <a:rPr lang="el" sz="1100" b="0" i="0" u="none" baseline="0" dirty="0"/>
              <a:t>Βέλτιστη ηχητική στάθμη των ασύρματων συμπαγών απορροφητικών σκουπών σε συνδυασμό με </a:t>
            </a:r>
            <a:br>
              <a:rPr lang="el" sz="1100" dirty="0"/>
            </a:br>
            <a:r>
              <a:rPr lang="el" sz="1100" b="0" i="0" u="none" baseline="0" dirty="0"/>
              <a:t>λειτουργίες ήπιας εκκίνησης και διάκλισης ταχύτητας - σχεδόν απόλυτη ηρεμία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2C62C3-4B14-7B59-75BF-35670D48BE51}"/>
              </a:ext>
            </a:extLst>
          </p:cNvPr>
          <p:cNvSpPr txBox="1"/>
          <p:nvPr/>
        </p:nvSpPr>
        <p:spPr>
          <a:xfrm>
            <a:off x="7941110" y="4273364"/>
            <a:ext cx="3766415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Πιστοποιημένο φίλτρο HEPA 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Γρήγοροι, </a:t>
            </a:r>
            <a:r>
              <a:rPr lang="el" sz="1100" b="0" i="0" u="sng" baseline="0"/>
              <a:t>χωρίς εργαλεί</a:t>
            </a:r>
            <a:r>
              <a:rPr lang="el" sz="1100" b="0" i="0" u="none" baseline="0"/>
              <a:t>α έλεγχοι και αντικαταστάσεις,</a:t>
            </a:r>
          </a:p>
          <a:p>
            <a:pPr algn="r" rtl="0">
              <a:lnSpc>
                <a:spcPct val="120000"/>
              </a:lnSpc>
            </a:pPr>
            <a:r>
              <a:rPr lang="el" sz="1100" b="0" i="0" u="none" baseline="0"/>
              <a:t> που διασφαλίζουν τη βέλτιστη ποιότητα αέρα και εξοικονομούν χρόνο</a:t>
            </a:r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6B5C0D09-B626-93A4-6E26-B5DE54627371}"/>
              </a:ext>
            </a:extLst>
          </p:cNvPr>
          <p:cNvCxnSpPr>
            <a:cxnSpLocks/>
          </p:cNvCxnSpPr>
          <p:nvPr/>
        </p:nvCxnSpPr>
        <p:spPr>
          <a:xfrm flipH="1">
            <a:off x="7793893" y="3045702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E06D935-B42D-9B87-5543-66AC89EF42CD}"/>
              </a:ext>
            </a:extLst>
          </p:cNvPr>
          <p:cNvCxnSpPr>
            <a:cxnSpLocks/>
          </p:cNvCxnSpPr>
          <p:nvPr/>
        </p:nvCxnSpPr>
        <p:spPr>
          <a:xfrm>
            <a:off x="475487" y="3374886"/>
            <a:ext cx="3910686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88">
            <a:extLst>
              <a:ext uri="{FF2B5EF4-FFF2-40B4-BE49-F238E27FC236}">
                <a16:creationId xmlns:a16="http://schemas.microsoft.com/office/drawing/2014/main" id="{43CD60BD-8FC8-2ECD-FD41-11AD6BAE3979}"/>
              </a:ext>
            </a:extLst>
          </p:cNvPr>
          <p:cNvCxnSpPr>
            <a:cxnSpLocks/>
          </p:cNvCxnSpPr>
          <p:nvPr/>
        </p:nvCxnSpPr>
        <p:spPr>
          <a:xfrm flipH="1">
            <a:off x="7793893" y="5866043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88">
            <a:extLst>
              <a:ext uri="{FF2B5EF4-FFF2-40B4-BE49-F238E27FC236}">
                <a16:creationId xmlns:a16="http://schemas.microsoft.com/office/drawing/2014/main" id="{4D2BA372-BFC2-C7E7-5E87-CC7F987B9CAF}"/>
              </a:ext>
            </a:extLst>
          </p:cNvPr>
          <p:cNvCxnSpPr>
            <a:cxnSpLocks/>
          </p:cNvCxnSpPr>
          <p:nvPr/>
        </p:nvCxnSpPr>
        <p:spPr>
          <a:xfrm flipH="1">
            <a:off x="7793893" y="2170022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A82238-4C01-2704-5EF6-6F44B45F437F}"/>
              </a:ext>
            </a:extLst>
          </p:cNvPr>
          <p:cNvCxnSpPr>
            <a:cxnSpLocks/>
          </p:cNvCxnSpPr>
          <p:nvPr/>
        </p:nvCxnSpPr>
        <p:spPr>
          <a:xfrm>
            <a:off x="475487" y="2170022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7FFC910-BF2B-0F0E-6A3E-58FAB43B5AAA}"/>
              </a:ext>
            </a:extLst>
          </p:cNvPr>
          <p:cNvSpPr txBox="1"/>
          <p:nvPr/>
        </p:nvSpPr>
        <p:spPr>
          <a:xfrm>
            <a:off x="475487" y="3495640"/>
            <a:ext cx="365760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Επισημασμένα χρωματιστά σημεία αφής</a:t>
            </a:r>
          </a:p>
          <a:p>
            <a:pPr algn="l" rtl="0">
              <a:lnSpc>
                <a:spcPct val="120000"/>
              </a:lnSpc>
            </a:pPr>
            <a:r>
              <a:rPr lang="el" sz="1100" b="0" i="0" u="none" baseline="0"/>
              <a:t>Διαισθητική διεπαφή χρήστη για απρόσκοπτο χειρισμό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812A04A-58CA-6A16-F673-2E76FFFBEB5F}"/>
              </a:ext>
            </a:extLst>
          </p:cNvPr>
          <p:cNvCxnSpPr>
            <a:cxnSpLocks/>
          </p:cNvCxnSpPr>
          <p:nvPr/>
        </p:nvCxnSpPr>
        <p:spPr>
          <a:xfrm>
            <a:off x="475487" y="3950349"/>
            <a:ext cx="391068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6235D9D-D5A7-0D74-80B7-828FD9277614}"/>
              </a:ext>
            </a:extLst>
          </p:cNvPr>
          <p:cNvSpPr txBox="1"/>
          <p:nvPr/>
        </p:nvSpPr>
        <p:spPr>
          <a:xfrm>
            <a:off x="475488" y="4476497"/>
            <a:ext cx="365760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Ίδιες διεπαφές σε όλες τις απορροφητικές σκούπες</a:t>
            </a:r>
          </a:p>
          <a:p>
            <a:pPr algn="l" rtl="0">
              <a:lnSpc>
                <a:spcPct val="120000"/>
              </a:lnSpc>
            </a:pPr>
            <a:r>
              <a:rPr lang="el" sz="1100" b="0" i="0" u="none" baseline="0"/>
              <a:t>Σακούλες, φίλτρα, αξεσουάρ κοινά με τη σειρά VP300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E1F0E5A-C5F1-4633-44B9-2DD494F2B184}"/>
              </a:ext>
            </a:extLst>
          </p:cNvPr>
          <p:cNvCxnSpPr>
            <a:cxnSpLocks/>
          </p:cNvCxnSpPr>
          <p:nvPr/>
        </p:nvCxnSpPr>
        <p:spPr>
          <a:xfrm>
            <a:off x="475488" y="4939948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88643C6-96A2-4263-FD3E-7CE1CA7CB332}"/>
              </a:ext>
            </a:extLst>
          </p:cNvPr>
          <p:cNvSpPr txBox="1"/>
          <p:nvPr/>
        </p:nvSpPr>
        <p:spPr>
          <a:xfrm>
            <a:off x="475488" y="5199459"/>
            <a:ext cx="3657600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100" b="0" i="0" u="none" baseline="0">
                <a:latin typeface="+mj-lt"/>
                <a:ea typeface="+mj-lt"/>
                <a:cs typeface="+mj-lt"/>
              </a:rPr>
              <a:t>Δυνατότητα ταχείας φόρτισης και εναλλαγής εν λειτουργία για συνεχή αδιάλειπτη χρήση</a:t>
            </a:r>
            <a:br>
              <a:rPr lang="el" sz="1100"/>
            </a:br>
            <a:r>
              <a:rPr lang="el" sz="1100" b="0" i="0" u="none" baseline="0"/>
              <a:t>Πλήρης φόρτιση σε μόλις 60 λεπτά*</a:t>
            </a:r>
          </a:p>
        </p:txBody>
      </p:sp>
      <p:cxnSp>
        <p:nvCxnSpPr>
          <p:cNvPr id="83" name="Straight Arrow Connector 88">
            <a:extLst>
              <a:ext uri="{FF2B5EF4-FFF2-40B4-BE49-F238E27FC236}">
                <a16:creationId xmlns:a16="http://schemas.microsoft.com/office/drawing/2014/main" id="{9208A795-773E-5EE8-5941-23F93DCDC447}"/>
              </a:ext>
            </a:extLst>
          </p:cNvPr>
          <p:cNvCxnSpPr>
            <a:cxnSpLocks/>
          </p:cNvCxnSpPr>
          <p:nvPr/>
        </p:nvCxnSpPr>
        <p:spPr>
          <a:xfrm flipH="1">
            <a:off x="7793893" y="3941607"/>
            <a:ext cx="3913632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496FCF13-41BB-1DA6-1CD4-26B116F247D6}"/>
              </a:ext>
            </a:extLst>
          </p:cNvPr>
          <p:cNvCxnSpPr>
            <a:cxnSpLocks/>
          </p:cNvCxnSpPr>
          <p:nvPr/>
        </p:nvCxnSpPr>
        <p:spPr>
          <a:xfrm>
            <a:off x="475488" y="5866043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F44C1FDD-8B92-7735-8CA0-3CB585A6E316}"/>
              </a:ext>
            </a:extLst>
          </p:cNvPr>
          <p:cNvCxnSpPr>
            <a:cxnSpLocks/>
          </p:cNvCxnSpPr>
          <p:nvPr/>
        </p:nvCxnSpPr>
        <p:spPr>
          <a:xfrm flipH="1">
            <a:off x="7793893" y="4939948"/>
            <a:ext cx="391363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66F04D8-6C40-112A-FEB3-EEBC818FAC30}"/>
              </a:ext>
            </a:extLst>
          </p:cNvPr>
          <p:cNvSpPr txBox="1"/>
          <p:nvPr/>
        </p:nvSpPr>
        <p:spPr>
          <a:xfrm>
            <a:off x="499547" y="6027579"/>
            <a:ext cx="5486916" cy="246221"/>
          </a:xfrm>
          <a:prstGeom prst="rect">
            <a:avLst/>
          </a:prstGeom>
          <a:noFill/>
        </p:spPr>
        <p:txBody>
          <a:bodyPr wrap="square" lIns="0" tIns="91440" bIns="0" anchor="b" anchorCtr="0">
            <a:spAutoFit/>
          </a:bodyPr>
          <a:lstStyle/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* Χωρητικότητα μπαταρίας περίπου 90%</a:t>
            </a:r>
          </a:p>
        </p:txBody>
      </p:sp>
    </p:spTree>
    <p:extLst>
      <p:ext uri="{BB962C8B-B14F-4D97-AF65-F5344CB8AC3E}">
        <p14:creationId xmlns:p14="http://schemas.microsoft.com/office/powerpoint/2010/main" val="167261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37E58-32D0-9A36-8A7A-7CFF689AF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8A58BB-DA62-6E48-263B-F7FAFFEE16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7282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8A58BB-DA62-6E48-263B-F7FAFFEE1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C3C637-3E04-CAE2-CB2A-73918850E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πιλεγμένες λεπτομέρειες σχεδιασμού και χαρακτηριστικά | Πολλά πανομοιότυπα με τα VP300 και VP400</a:t>
            </a:r>
            <a:endParaRPr lang="el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F391CC3-F4F2-B2DD-735B-DDB67F337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dirty="0"/>
              <a:t>3</a:t>
            </a:r>
            <a:r>
              <a:rPr lang="el" b="1" i="0" u="none" baseline="0" dirty="0"/>
              <a:t> | Χαρακτηριστικά του VP50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B4F393-38D7-60DB-AD93-FFAF066A4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2626976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5E7B77-5BE7-2270-40DB-84C7A3FFAC5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5</a:t>
            </a:fld>
            <a:endParaRPr lang="el" noProof="0"/>
          </a:p>
        </p:txBody>
      </p:sp>
      <p:pic>
        <p:nvPicPr>
          <p:cNvPr id="12" name="Picture 11" descr="A close up of a vacuum&#10;&#10;AI-generated content may be incorrect.">
            <a:extLst>
              <a:ext uri="{FF2B5EF4-FFF2-40B4-BE49-F238E27FC236}">
                <a16:creationId xmlns:a16="http://schemas.microsoft.com/office/drawing/2014/main" id="{027269B0-E785-7DB9-A742-5B2633E1E11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1164" y="2062112"/>
            <a:ext cx="4223815" cy="4356014"/>
          </a:xfrm>
          <a:prstGeom prst="rect">
            <a:avLst/>
          </a:prstGeom>
        </p:spPr>
      </p:pic>
      <p:pic>
        <p:nvPicPr>
          <p:cNvPr id="14" name="Picture 13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0A753B42-4A77-2668-49B4-9F65E75B68C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9146" y="2187592"/>
            <a:ext cx="3786997" cy="4105054"/>
          </a:xfrm>
          <a:prstGeom prst="rect">
            <a:avLst/>
          </a:prstGeom>
        </p:spPr>
      </p:pic>
      <p:pic>
        <p:nvPicPr>
          <p:cNvPr id="16" name="Picture 15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1E3CE192-9A55-F727-57D4-3EC2BBDB23B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2112"/>
            <a:ext cx="3982580" cy="4356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4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D33283-6DE7-C016-47A8-F20E2C907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9E2409D-A8B1-A1B5-563F-E573D61E50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111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9E2409D-A8B1-A1B5-563F-E573D61E5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0D23B56-5E98-8BEF-D6BF-1B223C997E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303147"/>
            <a:ext cx="5507038" cy="4218078"/>
          </a:xfrm>
        </p:spPr>
        <p:txBody>
          <a:bodyPr>
            <a:spAutoFit/>
          </a:bodyPr>
          <a:lstStyle/>
          <a:p>
            <a:pPr marL="198755" indent="-198755" algn="l" rtl="0"/>
            <a:endParaRPr lang="el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r>
              <a:rPr lang="el" b="0" i="0" u="none" baseline="0" dirty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Μεγάλος ανθεκτικός διακόπτης ισχύος</a:t>
            </a:r>
            <a:endParaRPr lang="el" noProof="0" dirty="0">
              <a:solidFill>
                <a:srgbClr val="28313F"/>
              </a:solidFill>
              <a:latin typeface="Roboto Bold"/>
              <a:ea typeface="Roboto Bold"/>
              <a:cs typeface="Roboto Bold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 dirty="0">
                <a:solidFill>
                  <a:srgbClr val="28313F"/>
                </a:solidFill>
              </a:rPr>
              <a:t>Γρήγορη διεπαφή χρήστη</a:t>
            </a:r>
            <a:endParaRPr lang="el" sz="1200" noProof="0" dirty="0">
              <a:solidFill>
                <a:srgbClr val="28313F"/>
              </a:solidFill>
              <a:ea typeface="Roboto Light"/>
              <a:cs typeface="Roboto Light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 dirty="0">
                <a:solidFill>
                  <a:srgbClr val="28313F"/>
                </a:solidFill>
              </a:rPr>
              <a:t>Δυνατότητα χειρισμού με το πόδι </a:t>
            </a:r>
            <a:endParaRPr lang="el" sz="1200" noProof="0" dirty="0">
              <a:solidFill>
                <a:srgbClr val="28313F"/>
              </a:solidFill>
              <a:ea typeface="Roboto Light"/>
              <a:cs typeface="Roboto Light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 dirty="0">
                <a:solidFill>
                  <a:srgbClr val="28313F"/>
                </a:solidFill>
              </a:rPr>
              <a:t>Μειωμένη κόπωση / λιγότεροι τραυματισμοί χειριστή</a:t>
            </a:r>
            <a:endParaRPr lang="el" noProof="0" dirty="0"/>
          </a:p>
          <a:p>
            <a:pPr marL="398145" lvl="1" indent="-198755" algn="l" rtl="0"/>
            <a:endParaRPr lang="el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r>
              <a:rPr lang="el" b="0" i="0" u="none" baseline="0" dirty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LED για ζωντανή ένδειξη του επιπέδου χωρητικότητας μπαταρίας μπροστά από το μηχάνημα</a:t>
            </a:r>
            <a:endParaRPr lang="el" noProof="0" dirty="0">
              <a:solidFill>
                <a:srgbClr val="28313F"/>
              </a:solidFill>
              <a:latin typeface="Roboto Bold"/>
              <a:ea typeface="Roboto Bold"/>
              <a:cs typeface="Roboto Bold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 dirty="0">
                <a:solidFill>
                  <a:srgbClr val="28313F"/>
                </a:solidFill>
              </a:rPr>
              <a:t>Ο γρήγορος έλεγχος από τον χειριστή </a:t>
            </a:r>
            <a:r>
              <a:rPr lang="el" sz="1200" b="0" i="0" u="none" baseline="0" dirty="0">
                <a:solidFill>
                  <a:srgbClr val="28313F"/>
                </a:solidFill>
                <a:sym typeface="Wingdings" panose="05000000000000000000" pitchFamily="2" charset="2"/>
              </a:rPr>
              <a:t> εξοικονομεί χρόνο</a:t>
            </a:r>
            <a:endParaRPr lang="el" sz="1200" noProof="0" dirty="0">
              <a:solidFill>
                <a:srgbClr val="28313F"/>
              </a:solidFill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 dirty="0">
                <a:solidFill>
                  <a:srgbClr val="28313F"/>
                </a:solidFill>
              </a:rPr>
              <a:t>Εν κινήσει προσαρμογή του προγράμματος καθαρισμού/βάρδιας, εάν είναι χαμηλό και χρειάζεται η μετακίνηση προς τον φορτιστή</a:t>
            </a:r>
            <a:endParaRPr lang="el" noProof="0" dirty="0"/>
          </a:p>
          <a:p>
            <a:pPr marL="398145" lvl="1" indent="-198755" algn="l" rtl="0"/>
            <a:endParaRPr lang="el" noProof="0" dirty="0">
              <a:ea typeface="Roboto Light"/>
              <a:cs typeface="Roboto Light"/>
            </a:endParaRPr>
          </a:p>
          <a:p>
            <a:pPr marL="0" indent="0" algn="l" rtl="0">
              <a:buNone/>
            </a:pPr>
            <a:r>
              <a:rPr lang="el" b="0" i="0" u="none" baseline="0" dirty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Στάνταρ δυνατότητα διπλής ταχύτητας </a:t>
            </a:r>
            <a:endParaRPr lang="el" noProof="0" dirty="0">
              <a:solidFill>
                <a:srgbClr val="28313F"/>
              </a:solidFill>
              <a:latin typeface="Roboto Bold"/>
              <a:ea typeface="Roboto Bold"/>
              <a:cs typeface="Roboto Bold"/>
            </a:endParaRP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 dirty="0">
                <a:solidFill>
                  <a:srgbClr val="28313F"/>
                </a:solidFill>
              </a:rPr>
              <a:t>Προσαρμογή στις συγκεκριμένες ανάγκες των πελατών…:</a:t>
            </a: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200" b="0" i="0" u="none" baseline="0" dirty="0">
                <a:ea typeface="Roboto Light"/>
                <a:cs typeface="Roboto Light"/>
              </a:rPr>
              <a:t>Ράμπα ποιότητας σε αλλαγή λειτουργίας ταχύτητας (και εκκίνηση - ξεκινά στην τελευταία ρύθμιση)</a:t>
            </a:r>
          </a:p>
          <a:p>
            <a:pPr marL="171450" lvl="1" indent="-171450" algn="l" rtl="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endParaRPr lang="el" sz="1200" dirty="0">
              <a:ea typeface="Roboto Light"/>
              <a:cs typeface="Roboto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392D92-D3EE-A2A7-E379-54F4632273B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791568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8EB515-1295-9BAC-2DC2-9C9E83443D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6</a:t>
            </a:fld>
            <a:endParaRPr lang="el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730A73-E730-F025-B78D-AB844D1CF0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Λεπτομέρειες σχεδιασμού | Βελτιωμένη διεπαφή χρήστη και ευκολία χρήσης</a:t>
            </a:r>
            <a:endParaRPr lang="el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31C39B-3856-E33A-6B29-587B4507F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dirty="0"/>
              <a:t>3</a:t>
            </a:r>
            <a:r>
              <a:rPr lang="el" b="1" i="0" u="none" baseline="0" dirty="0"/>
              <a:t> | Χαρακτηριστικά του VP500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DF1FEB18-4B9C-B2F8-A1D6-4919130267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6402" y="5501230"/>
            <a:ext cx="767848" cy="696197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ED2C63FE-F0D5-E12B-D671-A656F5A94A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306" y="5501230"/>
            <a:ext cx="767847" cy="6961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4B1393F-C5D0-55F5-3E6D-AA43D119A7F0}"/>
              </a:ext>
            </a:extLst>
          </p:cNvPr>
          <p:cNvSpPr txBox="1"/>
          <p:nvPr/>
        </p:nvSpPr>
        <p:spPr>
          <a:xfrm>
            <a:off x="1241612" y="5501230"/>
            <a:ext cx="1614790" cy="590931"/>
          </a:xfrm>
          <a:prstGeom prst="rect">
            <a:avLst/>
          </a:prstGeom>
          <a:noFill/>
        </p:spPr>
        <p:txBody>
          <a:bodyPr wrap="square" lIns="91440" tIns="0" rIns="0" bIns="0">
            <a:spAutoFit/>
          </a:bodyPr>
          <a:lstStyle/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Χαμηλή ταχύτητα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l" sz="11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Εκτεταμένος χρόνος λειτουργίας 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l" sz="1100" b="0" i="0" u="none" strike="noStrike" kern="1200" cap="none" spc="0" normalizeH="0" baseline="0">
                <a:ln>
                  <a:noFill/>
                </a:ln>
                <a:solidFill>
                  <a:srgbClr val="68C18B">
                    <a:lumMod val="60000"/>
                    <a:lumOff val="40000"/>
                  </a:srgbClr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(Φωτεινές πράσινες λυχνίες LED)</a:t>
            </a:r>
            <a:endParaRPr kumimoji="0" lang="el" sz="1100" i="0" u="none" strike="noStrike" kern="1200" cap="none" spc="0" normalizeH="0" baseline="0" noProof="0">
              <a:ln>
                <a:noFill/>
              </a:ln>
              <a:solidFill>
                <a:srgbClr val="68C18B">
                  <a:lumMod val="60000"/>
                  <a:lumOff val="40000"/>
                </a:srgbClr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895D5-A032-8BDB-23B0-0C488AAFA112}"/>
              </a:ext>
            </a:extLst>
          </p:cNvPr>
          <p:cNvSpPr txBox="1"/>
          <p:nvPr/>
        </p:nvSpPr>
        <p:spPr>
          <a:xfrm>
            <a:off x="3608708" y="5501230"/>
            <a:ext cx="1771522" cy="590931"/>
          </a:xfrm>
          <a:prstGeom prst="rect">
            <a:avLst/>
          </a:prstGeom>
          <a:noFill/>
        </p:spPr>
        <p:txBody>
          <a:bodyPr wrap="square" lIns="91440" tIns="0" rIns="0" bIns="0">
            <a:spAutoFit/>
          </a:bodyPr>
          <a:lstStyle/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l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Υψηλή ταχύτητα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l" sz="11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Βελτιωμένη ισχύς καθαρισμού</a:t>
            </a:r>
          </a:p>
          <a:p>
            <a:pPr marL="0" marR="0" lvl="2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l" sz="1100" b="0" i="0" u="none" strike="noStrike" kern="1200" cap="none" spc="0" normalizeH="0" baseline="0">
                <a:ln>
                  <a:noFill/>
                </a:ln>
                <a:solidFill>
                  <a:srgbClr val="68C18B">
                    <a:lumMod val="75000"/>
                  </a:srgbClr>
                </a:solidFill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(Σκούρες πράσινες λυχνίες LED)</a:t>
            </a:r>
            <a:endParaRPr kumimoji="0" lang="el" sz="1100" i="0" u="none" strike="noStrike" kern="1200" cap="none" spc="0" normalizeH="0" baseline="0" noProof="0">
              <a:ln>
                <a:noFill/>
              </a:ln>
              <a:solidFill>
                <a:srgbClr val="68C18B">
                  <a:lumMod val="75000"/>
                </a:srgbClr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25" name="Picture Placeholder 24" descr="A close up of a blue and black device&#10;&#10;AI-generated content may be incorrect.">
            <a:extLst>
              <a:ext uri="{FF2B5EF4-FFF2-40B4-BE49-F238E27FC236}">
                <a16:creationId xmlns:a16="http://schemas.microsoft.com/office/drawing/2014/main" id="{F82574BE-DFA3-6219-1848-913C9738A07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38" y="0"/>
            <a:ext cx="5986462" cy="62849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04653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BA8AC-405A-93E9-949B-CB68EACF1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2E68412-BCB5-BD46-B4A6-43A39EEAC86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377" y="1412874"/>
            <a:ext cx="8832931" cy="486092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2D6B28-EC36-8B1D-5883-7A194AEDBF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377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2D6B28-EC36-8B1D-5883-7A194AEDBF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A61391-D6DD-878F-A4D3-245FB067AD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el" b="0" i="0" u="none" baseline="0"/>
              <a:t>Περιοχή εγκατάστασης μπαταρίας | Ο ενσωματωμένος οδηγός και η διεπαφή χρήστη μπαταρίας με χρωματική επισήμανση εξασφαλίζουν εύκολη χρήση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7E11AD-F3F8-E4D0-C8F2-195B36221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dirty="0"/>
              <a:t>3</a:t>
            </a:r>
            <a:r>
              <a:rPr lang="el" b="1" i="0" u="none" baseline="0" dirty="0"/>
              <a:t> | Χαρακτηριστικά του VP50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3E3462-B886-3B49-97AE-30B42026C28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2727560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B49ECC-538B-9BE1-20AB-B05CD06DE17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7</a:t>
            </a:fld>
            <a:endParaRPr lang="el" noProof="0"/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66E6FD74-886F-644D-9F8A-B67BBD5C6106}"/>
              </a:ext>
            </a:extLst>
          </p:cNvPr>
          <p:cNvSpPr txBox="1">
            <a:spLocks/>
          </p:cNvSpPr>
          <p:nvPr/>
        </p:nvSpPr>
        <p:spPr>
          <a:xfrm>
            <a:off x="8563739" y="2548597"/>
            <a:ext cx="2428088" cy="1641475"/>
          </a:xfrm>
          <a:prstGeom prst="rect">
            <a:avLst/>
          </a:prstGeom>
        </p:spPr>
        <p:txBody>
          <a:bodyPr vert="horz" wrap="square" lIns="182880" tIns="0" rIns="0" bIns="0" rtlCol="0" anchor="ctr" anchorCtr="0">
            <a:sp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>
              <a:lnSpc>
                <a:spcPct val="100000"/>
              </a:lnSpc>
            </a:pPr>
            <a:r>
              <a:rPr lang="el" b="0" i="0" u="none" baseline="0">
                <a:latin typeface="Roboto Light"/>
                <a:ea typeface="Roboto Light"/>
                <a:cs typeface="Roboto Light"/>
              </a:rPr>
              <a:t>Περιοχή εγκατάστασης μπαταρίας</a:t>
            </a:r>
            <a:endParaRPr lang="el"/>
          </a:p>
          <a:p>
            <a:pPr algn="l" rtl="0">
              <a:lnSpc>
                <a:spcPct val="100000"/>
              </a:lnSpc>
            </a:pPr>
            <a:endParaRPr lang="el" b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l" rtl="0">
              <a:lnSpc>
                <a:spcPct val="100000"/>
              </a:lnSpc>
            </a:pPr>
            <a:br>
              <a:rPr lang="el" b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lang="el" b="0" i="0" u="none" baseline="0">
                <a:latin typeface="Roboto Light"/>
                <a:ea typeface="Roboto Light"/>
                <a:cs typeface="Roboto Light"/>
              </a:rPr>
              <a:t> Εικονίδια οδηγιών</a:t>
            </a:r>
            <a:endParaRPr lang="el">
              <a:ea typeface="Roboto Bold"/>
              <a:cs typeface="Roboto Bold"/>
            </a:endParaRPr>
          </a:p>
        </p:txBody>
      </p:sp>
      <p:cxnSp>
        <p:nvCxnSpPr>
          <p:cNvPr id="10" name="Straight Arrow Connector 88">
            <a:extLst>
              <a:ext uri="{FF2B5EF4-FFF2-40B4-BE49-F238E27FC236}">
                <a16:creationId xmlns:a16="http://schemas.microsoft.com/office/drawing/2014/main" id="{CF859F24-171E-02A1-B2D3-0BC1AFA615A3}"/>
              </a:ext>
            </a:extLst>
          </p:cNvPr>
          <p:cNvCxnSpPr>
            <a:cxnSpLocks/>
          </p:cNvCxnSpPr>
          <p:nvPr/>
        </p:nvCxnSpPr>
        <p:spPr>
          <a:xfrm flipH="1">
            <a:off x="4988866" y="2819001"/>
            <a:ext cx="366800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88">
            <a:extLst>
              <a:ext uri="{FF2B5EF4-FFF2-40B4-BE49-F238E27FC236}">
                <a16:creationId xmlns:a16="http://schemas.microsoft.com/office/drawing/2014/main" id="{4CA70A0A-A727-D375-6AE3-6AB8C58C3E85}"/>
              </a:ext>
            </a:extLst>
          </p:cNvPr>
          <p:cNvCxnSpPr>
            <a:cxnSpLocks/>
          </p:cNvCxnSpPr>
          <p:nvPr/>
        </p:nvCxnSpPr>
        <p:spPr>
          <a:xfrm flipH="1">
            <a:off x="5352933" y="4038201"/>
            <a:ext cx="3117672" cy="16933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42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2AFB3DDC-5DAB-47E2-C892-5F53E35FB38A}"/>
              </a:ext>
            </a:extLst>
          </p:cNvPr>
          <p:cNvSpPr txBox="1">
            <a:spLocks/>
          </p:cNvSpPr>
          <p:nvPr/>
        </p:nvSpPr>
        <p:spPr>
          <a:xfrm>
            <a:off x="8625840" y="-9525"/>
            <a:ext cx="3566160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288000" tIns="1692000" rIns="432000" bIns="180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el" b="0" i="0" u="none" baseline="0"/>
              <a:t>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E7F567-7CAF-4649-A5C9-BCABCC908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331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E7F567-7CAF-4649-A5C9-BCABCC908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7A732-1B72-4B7E-9959-3A3F93D9053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947016" cy="115054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18A39-864C-4516-ABEE-1F60AA4863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8</a:t>
            </a:fld>
            <a:endParaRPr lang="el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682-6238-41DE-B84D-6AF9545361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7863840" cy="376456"/>
          </a:xfrm>
        </p:spPr>
        <p:txBody>
          <a:bodyPr/>
          <a:lstStyle/>
          <a:p>
            <a:pPr algn="l" rtl="0"/>
            <a:r>
              <a:rPr lang="el" b="0" i="0" u="none" baseline="0"/>
              <a:t>Σακούλα, προφίλτρο και HEPA | Βελτιωμένη συντηρισιμότητα και χρηστικότητα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A0A575-CE3F-4485-91FC-04A222E42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863840" cy="365760"/>
          </a:xfrm>
        </p:spPr>
        <p:txBody>
          <a:bodyPr vert="horz"/>
          <a:lstStyle/>
          <a:p>
            <a:pPr algn="l" rtl="0"/>
            <a:r>
              <a:rPr lang="el" dirty="0"/>
              <a:t>3</a:t>
            </a:r>
            <a:r>
              <a:rPr lang="el" b="1" i="0" u="none" baseline="0" dirty="0"/>
              <a:t> | Χαρακτηριστικά του VP500 - Φιλτράρισμα</a:t>
            </a:r>
            <a:endParaRPr lang="el" noProof="0" dirty="0">
              <a:solidFill>
                <a:schemeClr val="accent3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6846E0A-04E0-DE92-F99B-D140A3666395}"/>
              </a:ext>
            </a:extLst>
          </p:cNvPr>
          <p:cNvSpPr txBox="1"/>
          <p:nvPr/>
        </p:nvSpPr>
        <p:spPr>
          <a:xfrm>
            <a:off x="4683196" y="6382814"/>
            <a:ext cx="2617038" cy="123111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marL="0" lvl="1" indent="0" algn="l" rtl="0">
              <a:buNone/>
            </a:pPr>
            <a:r>
              <a:rPr lang="el" sz="800" b="0" i="0" u="none" baseline="0"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* Η πλειονότητα των μηχανημάτων της σειράς είναι μοντέλα με διαμόρφωση HEPA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7B4EE0B-81AA-1703-1A11-0113D9C5F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4132" y="1825760"/>
            <a:ext cx="3442323" cy="1936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A white round object with blue handle&#10;&#10;Description automatically generated">
            <a:extLst>
              <a:ext uri="{FF2B5EF4-FFF2-40B4-BE49-F238E27FC236}">
                <a16:creationId xmlns:a16="http://schemas.microsoft.com/office/drawing/2014/main" id="{2BF77AD8-6428-D23C-4C1C-91C19F24C02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504" y="1775605"/>
            <a:ext cx="2737807" cy="2105104"/>
          </a:xfrm>
          <a:prstGeom prst="rect">
            <a:avLst/>
          </a:prstGeom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F30303C9-84EB-047E-C7F7-334D37E782C9}"/>
              </a:ext>
            </a:extLst>
          </p:cNvPr>
          <p:cNvSpPr txBox="1">
            <a:spLocks/>
          </p:cNvSpPr>
          <p:nvPr/>
        </p:nvSpPr>
        <p:spPr>
          <a:xfrm>
            <a:off x="4526652" y="4013746"/>
            <a:ext cx="3624367" cy="183717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300"/>
              </a:spcBef>
              <a:buClrTx/>
              <a:buSzTx/>
              <a:buFont typeface="Arial" panose="020B0604020202020204" pitchFamily="34" charset="0"/>
              <a:buNone/>
              <a:tabLst>
                <a:tab pos="2867025" algn="l"/>
              </a:tabLst>
              <a:defRPr/>
            </a:pPr>
            <a:r>
              <a:rPr kumimoji="0" lang="el" sz="14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Φίλτρο ΗΕΡΑ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Σημείο λαβής και χρωματική επισήμανση </a:t>
            </a: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Wingdings" panose="05000000000000000000" pitchFamily="2" charset="2"/>
              </a:rPr>
              <a:t></a:t>
            </a: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 βελτιστοποίηση χρηστικότητας και χρόνου 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Wingdings" panose="05000000000000000000" pitchFamily="2" charset="2"/>
              </a:rPr>
              <a:t>Δεν χρειάζονται εργαλεία για πρόσβαση/αλλαγή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Wingdings" panose="05000000000000000000" pitchFamily="2" charset="2"/>
              </a:rPr>
              <a:t>Διασφάλιση καλής και υγιεινής ποιότητας αέρα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Συγκράτηση μικρών σωματιδίων που είναι επικίνδυνα για την υγεία 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HEPA 13 ή HEPA 14*, 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Χ</a:t>
            </a:r>
            <a:r>
              <a:rPr lang="el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ρησιμοποιούνται για όλη τη σειρά της Nilfisk με κόμπακτ επαγγελματικές απορροφητικές σκούπες με δοχείο στερεών:  VP300, VP400, VP500 και VP700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8B0533D3-6BAC-7285-5DB6-1E87666D74A6}"/>
              </a:ext>
            </a:extLst>
          </p:cNvPr>
          <p:cNvSpPr txBox="1">
            <a:spLocks/>
          </p:cNvSpPr>
          <p:nvPr/>
        </p:nvSpPr>
        <p:spPr>
          <a:xfrm>
            <a:off x="475521" y="4013746"/>
            <a:ext cx="3624367" cy="1467838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lnSpc>
                <a:spcPct val="120000"/>
              </a:lnSpc>
              <a:spcBef>
                <a:spcPts val="300"/>
              </a:spcBef>
              <a:buNone/>
              <a:tabLst>
                <a:tab pos="2867025" algn="l"/>
              </a:tabLst>
              <a:defRPr/>
            </a:pPr>
            <a:r>
              <a:rPr lang="el" b="0" i="0" u="none" baseline="0">
                <a:solidFill>
                  <a:srgbClr val="28313F"/>
                </a:solidFill>
                <a:latin typeface="Roboto Bold"/>
                <a:ea typeface="Roboto Bold"/>
                <a:cs typeface="Roboto Bold"/>
              </a:rPr>
              <a:t>Προφίλτρο (σακούλα)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Γρήγορη και εύκολη επιθεώρηση/αλλαγή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Διεπαφή χρήστη με επισημασμένα χρωματικά σημεία αφής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PN και εικόνες/οδηγός </a:t>
            </a:r>
          </a:p>
          <a:p>
            <a:pPr marL="365760" lvl="1" indent="-182880" algn="l" rtl="0">
              <a:lnSpc>
                <a:spcPct val="120000"/>
              </a:lnSpc>
              <a:spcBef>
                <a:spcPts val="0"/>
              </a:spcBef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+mn-lt"/>
              </a:rPr>
              <a:t>Άνετο Βελτιωμένη ανοχή/χρηστικότητα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Προστατεύει το μηχάνημα</a:t>
            </a:r>
          </a:p>
          <a:p>
            <a:pPr marL="173736" lvl="1" indent="-173736" algn="l" rtl="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2867025" algn="l"/>
              </a:tabLst>
              <a:defRPr/>
            </a:pPr>
            <a:r>
              <a:rPr lang="el" sz="1000" b="0" i="0" u="none" baseline="0">
                <a:solidFill>
                  <a:srgbClr val="000000"/>
                </a:solidFill>
                <a:latin typeface="Roboto Light"/>
                <a:ea typeface="Roboto Light"/>
                <a:cs typeface="Roboto Light"/>
              </a:rPr>
              <a:t>Το ίδιο ισχύει στα VP300, VP400 και VP500</a:t>
            </a:r>
          </a:p>
        </p:txBody>
      </p:sp>
      <p:pic>
        <p:nvPicPr>
          <p:cNvPr id="18" name="Picture 17" descr="A black and grey vacuum cleaner&#10;&#10;AI-generated content may be incorrect.">
            <a:extLst>
              <a:ext uri="{FF2B5EF4-FFF2-40B4-BE49-F238E27FC236}">
                <a16:creationId xmlns:a16="http://schemas.microsoft.com/office/drawing/2014/main" id="{12A40C3D-2083-8BC0-1687-BBDFCDBF82C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3872" y="1621631"/>
            <a:ext cx="3471725" cy="352901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B9CBFC0-D8FF-2212-A0EF-80292DE01F30}"/>
              </a:ext>
            </a:extLst>
          </p:cNvPr>
          <p:cNvCxnSpPr>
            <a:cxnSpLocks/>
          </p:cNvCxnSpPr>
          <p:nvPr/>
        </p:nvCxnSpPr>
        <p:spPr>
          <a:xfrm>
            <a:off x="4265546" y="1911350"/>
            <a:ext cx="0" cy="4371975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997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C217EC-4334-9F9F-EC7C-9767D7AB5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5B22E-5ECA-9CED-D4DA-95B6708F2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70A7A32-599C-71D1-50F7-31FFE361ABE8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>
          <a:xfrm>
            <a:off x="920896" y="6529068"/>
            <a:ext cx="2745848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63F7078-124C-5497-EBA5-D40AB14A19D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9</a:t>
            </a:fld>
            <a:endParaRPr lang="el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DEC1019-9EEE-F84C-92D7-541146448E27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Υπόβαθρο και VP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CDCE36A-1EF6-6BFD-4B90-8A5F4C53F3AC}"/>
              </a:ext>
            </a:extLst>
          </p:cNvPr>
          <p:cNvSpPr txBox="1">
            <a:spLocks/>
          </p:cNvSpPr>
          <p:nvPr/>
        </p:nvSpPr>
        <p:spPr>
          <a:xfrm>
            <a:off x="1968167" y="2252906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Νέα απορροφητική σκούπα με μπαταρία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A37DDA01-2204-1320-E83C-21166F2C17AB}"/>
              </a:ext>
            </a:extLst>
          </p:cNvPr>
          <p:cNvSpPr txBox="1">
            <a:spLocks/>
          </p:cNvSpPr>
          <p:nvPr/>
        </p:nvSpPr>
        <p:spPr>
          <a:xfrm>
            <a:off x="1968167" y="3156271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Κυριότερα σημεία πώλησης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D2EFC50A-050B-9832-888E-8D812F72BAA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4144431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/>
              <a:t>Άλλο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6DB59845-399B-645B-28BF-87F487981F98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l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CEDD4A7C-CDEA-1CE7-A652-1A15D94B64C0}"/>
              </a:ext>
            </a:extLst>
          </p:cNvPr>
          <p:cNvSpPr txBox="1">
            <a:spLocks/>
          </p:cNvSpPr>
          <p:nvPr/>
        </p:nvSpPr>
        <p:spPr>
          <a:xfrm>
            <a:off x="1117600" y="2252906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dirty="0"/>
              <a:t>2</a:t>
            </a:r>
            <a:endParaRPr lang="el" b="1" i="0" u="none" baseline="0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0896119-935C-1957-D5A9-21B2B06EB45B}"/>
              </a:ext>
            </a:extLst>
          </p:cNvPr>
          <p:cNvSpPr txBox="1">
            <a:spLocks/>
          </p:cNvSpPr>
          <p:nvPr/>
        </p:nvSpPr>
        <p:spPr>
          <a:xfrm>
            <a:off x="1117600" y="3156271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dirty="0"/>
              <a:t>3</a:t>
            </a:r>
            <a:endParaRPr lang="el" b="1" i="0" u="none" baseline="0" dirty="0"/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6608AC98-D408-37D4-F281-D722B0E30ECB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4144431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l" dirty="0"/>
              <a:t>4</a:t>
            </a:r>
            <a:endParaRPr lang="el" b="1" i="0" u="none" baseline="0" dirty="0"/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5F631B84-B17F-AA19-76FE-72A8E1A7DE9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103513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>
          <a:xfrm>
            <a:off x="920896" y="6529068"/>
            <a:ext cx="2626976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</a:t>
            </a:fld>
            <a:endParaRPr lang="el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2D3E4B3-1331-58A8-0AAF-0238313BD7F9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Υπόβαθρο και VP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963E1DD2-FEBA-FF56-5DC4-A9C57C152DFB}"/>
              </a:ext>
            </a:extLst>
          </p:cNvPr>
          <p:cNvSpPr txBox="1">
            <a:spLocks/>
          </p:cNvSpPr>
          <p:nvPr/>
        </p:nvSpPr>
        <p:spPr>
          <a:xfrm>
            <a:off x="1968167" y="2232358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Νέα απορροφητική σκούπα με μπαταρία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1F7A799E-8580-D4E4-B60C-790DDCC4822F}"/>
              </a:ext>
            </a:extLst>
          </p:cNvPr>
          <p:cNvSpPr txBox="1">
            <a:spLocks/>
          </p:cNvSpPr>
          <p:nvPr/>
        </p:nvSpPr>
        <p:spPr>
          <a:xfrm>
            <a:off x="1968167" y="3074077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Κυριότερα σημεία πώλησης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7544968F-8D7D-AE60-853B-913CA1110C8A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97F23277-13D1-5340-5949-5210D88EE010}"/>
              </a:ext>
            </a:extLst>
          </p:cNvPr>
          <p:cNvSpPr txBox="1">
            <a:spLocks/>
          </p:cNvSpPr>
          <p:nvPr/>
        </p:nvSpPr>
        <p:spPr>
          <a:xfrm>
            <a:off x="1117600" y="223235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l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el" dirty="0"/>
              <a:t>2</a:t>
            </a:r>
            <a:endParaRPr lang="el" b="1" i="0" u="none" baseline="0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D0398B8-2FCE-3C77-7FFE-3471787D2140}"/>
              </a:ext>
            </a:extLst>
          </p:cNvPr>
          <p:cNvSpPr txBox="1">
            <a:spLocks/>
          </p:cNvSpPr>
          <p:nvPr/>
        </p:nvSpPr>
        <p:spPr>
          <a:xfrm>
            <a:off x="1117600" y="3074077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l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el" dirty="0"/>
              <a:t>3</a:t>
            </a:r>
            <a:endParaRPr lang="el" b="1" i="0" u="none" baseline="0" dirty="0"/>
          </a:p>
        </p:txBody>
      </p:sp>
      <p:pic>
        <p:nvPicPr>
          <p:cNvPr id="72" name="Picture Placeholder 71">
            <a:extLst>
              <a:ext uri="{FF2B5EF4-FFF2-40B4-BE49-F238E27FC236}">
                <a16:creationId xmlns:a16="http://schemas.microsoft.com/office/drawing/2014/main" id="{E3EBD5EF-F8F2-5C2D-A3A2-6DBBC70CBDC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29719" y="-72337"/>
            <a:ext cx="5262281" cy="627380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78F158-75B2-F2C7-6BBF-82B9D9ECAFB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3905525"/>
            <a:ext cx="4710540" cy="698238"/>
          </a:xfrm>
        </p:spPr>
        <p:txBody>
          <a:bodyPr/>
          <a:lstStyle/>
          <a:p>
            <a:r>
              <a:rPr lang="el-GR" dirty="0"/>
              <a:t>Άλλο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CE32909-8AF4-FBD3-E9FD-71921B6A045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3905525"/>
            <a:ext cx="698400" cy="698238"/>
          </a:xfrm>
        </p:spPr>
        <p:txBody>
          <a:bodyPr/>
          <a:lstStyle/>
          <a:p>
            <a:r>
              <a:rPr lang="el-GR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446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D891B4F-19A4-1A3C-324E-A0C919EBEC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9253" y="2726295"/>
            <a:ext cx="4430486" cy="36149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ED17A55-F412-25F4-5C92-CA0A0A64ED5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23383" y="2726294"/>
            <a:ext cx="4068618" cy="36149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5001E23-D0E7-5A9A-50A7-E45946331C3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886928"/>
            <a:ext cx="5487629" cy="4605554"/>
          </a:xfrm>
          <a:prstGeom prst="rect">
            <a:avLst/>
          </a:prstGeom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B783081-F029-D284-A14D-902E3DAC5F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905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1" imgH="411" progId="TCLayout.ActiveDocument.1">
                  <p:embed/>
                </p:oleObj>
              </mc:Choice>
              <mc:Fallback>
                <p:oleObj name="think-cell Slide" r:id="rId8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83081-F029-D284-A14D-902E3DAC5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ABD03-BC24-0F94-F290-AE8D115137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Σειρά NBP | Επεκτάσιμη ισχύς μπαταρίας σε συμπαγές μέγεθος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3C4B78-7321-871D-5721-A0C6122A52E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pPr algn="l" rtl="0"/>
            <a:r>
              <a:rPr lang="el" dirty="0"/>
              <a:t>4</a:t>
            </a:r>
            <a:r>
              <a:rPr lang="el" b="1" i="0" u="none" baseline="0" dirty="0"/>
              <a:t> | Νέα πλατφόρμα με μπαταρία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860F6A-8662-41A8-9065-EB80FF0A47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0</a:t>
            </a:fld>
            <a:endParaRPr lang="el" noProof="0"/>
          </a:p>
        </p:txBody>
      </p:sp>
      <p:sp>
        <p:nvSpPr>
          <p:cNvPr id="7" name="TextBox 6"/>
          <p:cNvSpPr txBox="1"/>
          <p:nvPr/>
        </p:nvSpPr>
        <p:spPr>
          <a:xfrm>
            <a:off x="2114720" y="2645609"/>
            <a:ext cx="929527" cy="2728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l" sz="1600" b="0" i="0" u="none" baseline="0"/>
              <a:t>Combat 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2ECD93-1B29-464B-9709-00D7C73ABC4D}"/>
              </a:ext>
            </a:extLst>
          </p:cNvPr>
          <p:cNvSpPr txBox="1"/>
          <p:nvPr/>
        </p:nvSpPr>
        <p:spPr>
          <a:xfrm>
            <a:off x="7458652" y="2674193"/>
            <a:ext cx="187574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l" sz="1600" b="0" i="0" u="none" baseline="0">
                <a:latin typeface="+mj-lt"/>
                <a:ea typeface="+mj-lt"/>
                <a:cs typeface="+mj-lt"/>
              </a:rPr>
              <a:t>Σειρά NBP</a:t>
            </a:r>
          </a:p>
          <a:p>
            <a:pPr marL="0" marR="0" lvl="0" indent="0" algn="l" defTabSz="102396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6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</a:rPr>
              <a:t>NBP60</a:t>
            </a:r>
          </a:p>
          <a:p>
            <a:pPr algn="l" rtl="0">
              <a:defRPr/>
            </a:pPr>
            <a:r>
              <a:rPr lang="el" sz="1600" b="0" i="0" u="none" baseline="0"/>
              <a:t>NBP100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6CB106FD-2B2C-4852-862F-CC1B8E8AA911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l" noProof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5F2FDFB-6768-0BF2-FCD8-AC4D9A465472}"/>
              </a:ext>
            </a:extLst>
          </p:cNvPr>
          <p:cNvCxnSpPr>
            <a:cxnSpLocks/>
          </p:cNvCxnSpPr>
          <p:nvPr/>
        </p:nvCxnSpPr>
        <p:spPr>
          <a:xfrm>
            <a:off x="3264150" y="2800064"/>
            <a:ext cx="3888178" cy="0"/>
          </a:xfrm>
          <a:prstGeom prst="line">
            <a:avLst/>
          </a:prstGeom>
          <a:ln w="15875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15">
            <a:extLst>
              <a:ext uri="{FF2B5EF4-FFF2-40B4-BE49-F238E27FC236}">
                <a16:creationId xmlns:a16="http://schemas.microsoft.com/office/drawing/2014/main" id="{16EF871F-42C4-9E0D-178E-1A45D35B4302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el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sz="1000" b="0" i="0" u="none" baseline="0">
                <a:solidFill>
                  <a:schemeClr val="bg2"/>
                </a:solidFill>
              </a:rPr>
              <a:t>ΕΜΠΙΣΤΕΥΤΙΚΕΣ ΠΛΗΡΟΦΟΡΙΕΣ ΕΤΑΙΡΕΙΑΣ</a:t>
            </a:r>
          </a:p>
        </p:txBody>
      </p:sp>
    </p:spTree>
    <p:extLst>
      <p:ext uri="{BB962C8B-B14F-4D97-AF65-F5344CB8AC3E}">
        <p14:creationId xmlns:p14="http://schemas.microsoft.com/office/powerpoint/2010/main" val="317761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3">
            <a:extLst>
              <a:ext uri="{FF2B5EF4-FFF2-40B4-BE49-F238E27FC236}">
                <a16:creationId xmlns:a16="http://schemas.microsoft.com/office/drawing/2014/main" id="{587C109D-FE63-ADD9-D1D0-747CE8CAC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454712"/>
              </p:ext>
            </p:extLst>
          </p:nvPr>
        </p:nvGraphicFramePr>
        <p:xfrm>
          <a:off x="475521" y="1335024"/>
          <a:ext cx="5669280" cy="21153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3487306242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Τεχνικά χαρακτηριστικά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Combat 1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NBP6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NBP10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Ισχύς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V Li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V Li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V Li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Χωρητικότητα μπαταρίας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7,8 Ah</a:t>
                      </a:r>
                      <a:b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el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l" sz="7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80Wh</a:t>
                      </a:r>
                      <a:r>
                        <a:rPr kumimoji="0" lang="el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)</a:t>
                      </a:r>
                      <a:endParaRPr kumimoji="0" lang="el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6,0 Ah</a:t>
                      </a:r>
                      <a:b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el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l" sz="7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6Wh</a:t>
                      </a:r>
                      <a:r>
                        <a:rPr kumimoji="0" lang="el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)</a:t>
                      </a:r>
                      <a:endParaRPr kumimoji="0" lang="el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0,0 Ah</a:t>
                      </a:r>
                      <a:b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</a:br>
                      <a:r>
                        <a:rPr kumimoji="0" lang="el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l" sz="7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0Wh</a:t>
                      </a:r>
                      <a:r>
                        <a:rPr kumimoji="0" lang="el" sz="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)</a:t>
                      </a:r>
                      <a:endParaRPr kumimoji="0" lang="el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Βάρος (kg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Διαστάσεις ΜxΠxΥ (mm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40x160x7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x130x73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x130x73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Φορτιστής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+mn-lt"/>
                        </a:rPr>
                        <a:t>Ταχυφορτιστής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Ταχυφορτιστής </a:t>
                      </a:r>
                      <a:b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Ταχυφορτιστής </a:t>
                      </a:r>
                      <a:b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991286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0170" y="0"/>
            <a:ext cx="5361829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el" b="0" i="0" u="none" baseline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3CB34F-170A-8CE4-E0C8-98CF5C7DA74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30170" y="311654"/>
            <a:ext cx="5361830" cy="5909852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554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2663552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1</a:t>
            </a:fld>
            <a:endParaRPr lang="el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el" b="0" i="0" u="none" baseline="0"/>
              <a:t>Τεχνικές προδιαγραφές της </a:t>
            </a:r>
            <a:r>
              <a:rPr lang="el" b="0" i="0" u="none" baseline="0">
                <a:ea typeface="Roboto Light"/>
              </a:rPr>
              <a:t>σειράς NBP σε σύγκριση με την προηγούμενη</a:t>
            </a:r>
            <a:endParaRPr lang="el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dirty="0"/>
              <a:t>4</a:t>
            </a:r>
            <a:r>
              <a:rPr lang="el" b="1" i="0" u="none" baseline="0" dirty="0"/>
              <a:t> | Νέα πλατφόρμα με μπαταρία</a:t>
            </a:r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>
            <a:cxnSpLocks/>
          </p:cNvCxnSpPr>
          <p:nvPr/>
        </p:nvCxnSpPr>
        <p:spPr>
          <a:xfrm flipV="1">
            <a:off x="9768248" y="4042657"/>
            <a:ext cx="1110112" cy="476903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1021261" y="2791707"/>
            <a:ext cx="0" cy="971549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712224" y="3344157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10106787" y="4501035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30 mm 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5.11 in</a:t>
            </a: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514058" y="4037449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83 mm / </a:t>
            </a:r>
            <a:br>
              <a:rPr lang="el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7.20 in</a:t>
            </a: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973413" y="3196602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73 mm / </a:t>
            </a:r>
            <a:br>
              <a:rPr lang="el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2.87 i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BF51C4C-C811-CF48-5AE8-603BD4A014CB}"/>
              </a:ext>
            </a:extLst>
          </p:cNvPr>
          <p:cNvSpPr txBox="1"/>
          <p:nvPr/>
        </p:nvSpPr>
        <p:spPr>
          <a:xfrm>
            <a:off x="6830170" y="5769338"/>
            <a:ext cx="4882406" cy="513987"/>
          </a:xfrm>
          <a:prstGeom prst="rect">
            <a:avLst/>
          </a:prstGeom>
          <a:noFill/>
        </p:spPr>
        <p:txBody>
          <a:bodyPr wrap="square" lIns="219456" bIns="219456" anchor="b" anchorCtr="0">
            <a:spAutoFit/>
          </a:bodyPr>
          <a:lstStyle/>
          <a:p>
            <a:pPr algn="l" rtl="0">
              <a:defRPr/>
            </a:pPr>
            <a:r>
              <a:rPr lang="el" sz="800" b="0" i="1" u="none" baseline="0">
                <a:ea typeface="Roboto Light"/>
                <a:cs typeface="Roboto Light"/>
              </a:rPr>
              <a:t>Οπτικά στοιχεία NBP60 - ίδιο φυσικό αποτύπωμα (μέγεθος) και διεπαφή με το NBP100</a:t>
            </a:r>
            <a:br>
              <a:rPr lang="el" sz="800" i="1">
                <a:ea typeface="Roboto Light"/>
                <a:cs typeface="Roboto Light"/>
              </a:rPr>
            </a:br>
            <a:r>
              <a:rPr lang="el" sz="800" b="0" i="1" u="none" baseline="0">
                <a:ea typeface="Roboto Light"/>
                <a:cs typeface="Roboto Light"/>
              </a:rPr>
              <a:t>- Περισσότερες λεπτομέρειες στη συγκεκριμένη παρουσίαση NB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65B3BA-4F0C-D510-1BA4-91B3BFC54D03}"/>
              </a:ext>
            </a:extLst>
          </p:cNvPr>
          <p:cNvSpPr txBox="1"/>
          <p:nvPr/>
        </p:nvSpPr>
        <p:spPr>
          <a:xfrm>
            <a:off x="475521" y="3450336"/>
            <a:ext cx="5510942" cy="172354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endParaRPr lang="el" sz="1200" i="1" noProof="0">
              <a:ea typeface="Roboto Light"/>
              <a:cs typeface="Roboto Light"/>
            </a:endParaRP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l" sz="1200" b="0" i="1" u="none" baseline="0">
                <a:ea typeface="Roboto Light"/>
                <a:cs typeface="Roboto Light"/>
              </a:rPr>
              <a:t>Μικρότερο βάρος</a:t>
            </a: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l" sz="1200" b="0" i="1" u="none" baseline="0">
                <a:ea typeface="Roboto Light"/>
                <a:cs typeface="Roboto Light"/>
              </a:rPr>
              <a:t>Πιο συμπαγής και επεκτάσιμος σχεδιασμός</a:t>
            </a: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l" sz="1200" b="0" i="1" u="none" baseline="0">
                <a:ea typeface="Roboto Light"/>
                <a:cs typeface="Roboto Light"/>
              </a:rPr>
              <a:t>Ενισχυμένη UX και UI </a:t>
            </a:r>
            <a:r>
              <a:rPr lang="el" sz="1200" b="0" i="1" u="none" baseline="0">
                <a:ea typeface="Roboto Light"/>
                <a:cs typeface="Roboto Light"/>
                <a:sym typeface="Wingdings" panose="05000000000000000000" pitchFamily="2" charset="2"/>
              </a:rPr>
              <a:t> </a:t>
            </a:r>
            <a:r>
              <a:rPr lang="el" sz="1200" b="0" i="1" u="none" baseline="0">
                <a:ea typeface="Roboto Light"/>
                <a:cs typeface="Roboto Light"/>
              </a:rPr>
              <a:t>λαβή στο πάνω μέρος και χρωματιστό κουμπί απελευθέρωσης</a:t>
            </a: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l" sz="1200" b="0" i="1" u="none" baseline="0">
                <a:ea typeface="Roboto Light"/>
                <a:cs typeface="Roboto Light"/>
              </a:rPr>
              <a:t>Ενισχυμένη τοποθέτηση </a:t>
            </a:r>
            <a:r>
              <a:rPr lang="el" sz="1200" b="0" i="1" u="none" baseline="0">
                <a:ea typeface="Roboto Light"/>
                <a:cs typeface="Roboto Light"/>
                <a:sym typeface="Wingdings" panose="05000000000000000000" pitchFamily="2" charset="2"/>
              </a:rPr>
              <a:t> επεκτασιμότητα, διαφορά επιπέδων απόδοσης/τιμής</a:t>
            </a:r>
          </a:p>
          <a:p>
            <a:pPr marL="171450" indent="-171450" algn="l" rtl="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l" sz="1200" b="0" i="1" u="none" baseline="0">
                <a:ea typeface="Roboto Light"/>
                <a:cs typeface="Roboto Light"/>
                <a:sym typeface="Wingdings" panose="05000000000000000000" pitchFamily="2" charset="2"/>
              </a:rPr>
              <a:t>Ειδοποίηση/προειδοποιητική λυχνία LED στην μπαταρία (τρίγωνο)</a:t>
            </a:r>
            <a:endParaRPr lang="el" sz="1200" i="1" noProof="0"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20342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CD67AD-D593-CC3F-0869-BC025BA75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D165A09-4C05-1C6A-7C78-8065D5E416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2936511"/>
            <a:ext cx="6226037" cy="392149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E6B442-E57C-417D-8B9B-24974A7E61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0170" y="0"/>
            <a:ext cx="5361829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el" b="0" i="0" u="none" baseline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C0B8D6-8BE8-5697-0382-8D2E1E0FFC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30170" y="779928"/>
            <a:ext cx="5361830" cy="5026717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A7BD3E55-ED3C-F29A-97C8-50EC633D6B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425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A7BD3E55-ED3C-F29A-97C8-50EC633D6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7308856-AEFE-3D23-714C-A772510E542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2773280" cy="22834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17F1F7B-F349-3D9D-692E-C93A6FDABB0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2</a:t>
            </a:fld>
            <a:endParaRPr lang="el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AC9FAA4-CFD2-101D-1E70-A01C40B0D7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el" b="0" i="0" u="none" baseline="0"/>
              <a:t>Τεχνικές προδιαγραφές του </a:t>
            </a:r>
            <a:r>
              <a:rPr lang="el" b="0" i="0" u="none" baseline="0">
                <a:ea typeface="Roboto Light"/>
              </a:rPr>
              <a:t>νέου φορτιστή, NBC215</a:t>
            </a:r>
            <a:endParaRPr lang="el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DC27E3BF-DF8B-A291-BB4E-E2DDF0892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887" y="484713"/>
            <a:ext cx="7862850" cy="388013"/>
          </a:xfrm>
        </p:spPr>
        <p:txBody>
          <a:bodyPr vert="horz"/>
          <a:lstStyle/>
          <a:p>
            <a:pPr algn="l" rtl="0"/>
            <a:r>
              <a:rPr lang="el" dirty="0"/>
              <a:t>4</a:t>
            </a:r>
            <a:r>
              <a:rPr lang="el" b="1" i="0" u="none" baseline="0" dirty="0"/>
              <a:t> | Νέα πλατφόρμα με μπαταρία</a:t>
            </a:r>
          </a:p>
        </p:txBody>
      </p:sp>
      <p:cxnSp>
        <p:nvCxnSpPr>
          <p:cNvPr id="4" name="Google Shape;117;p28">
            <a:extLst>
              <a:ext uri="{FF2B5EF4-FFF2-40B4-BE49-F238E27FC236}">
                <a16:creationId xmlns:a16="http://schemas.microsoft.com/office/drawing/2014/main" id="{FBF27F0E-69B9-C58C-EF8F-878413516E3C}"/>
              </a:ext>
            </a:extLst>
          </p:cNvPr>
          <p:cNvCxnSpPr>
            <a:cxnSpLocks/>
          </p:cNvCxnSpPr>
          <p:nvPr/>
        </p:nvCxnSpPr>
        <p:spPr>
          <a:xfrm flipV="1">
            <a:off x="9477506" y="4034279"/>
            <a:ext cx="1446865" cy="603624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7" name="Google Shape;118;p28">
            <a:extLst>
              <a:ext uri="{FF2B5EF4-FFF2-40B4-BE49-F238E27FC236}">
                <a16:creationId xmlns:a16="http://schemas.microsoft.com/office/drawing/2014/main" id="{BB9D0729-6DBF-2604-BD65-69BED5E700DA}"/>
              </a:ext>
            </a:extLst>
          </p:cNvPr>
          <p:cNvCxnSpPr>
            <a:cxnSpLocks/>
          </p:cNvCxnSpPr>
          <p:nvPr/>
        </p:nvCxnSpPr>
        <p:spPr>
          <a:xfrm>
            <a:off x="11015684" y="2882720"/>
            <a:ext cx="0" cy="85161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10" name="Google Shape;119;p28">
            <a:extLst>
              <a:ext uri="{FF2B5EF4-FFF2-40B4-BE49-F238E27FC236}">
                <a16:creationId xmlns:a16="http://schemas.microsoft.com/office/drawing/2014/main" id="{3714ED22-3DC2-3170-82A0-922E10C0DE86}"/>
              </a:ext>
            </a:extLst>
          </p:cNvPr>
          <p:cNvCxnSpPr>
            <a:cxnSpLocks/>
          </p:cNvCxnSpPr>
          <p:nvPr/>
        </p:nvCxnSpPr>
        <p:spPr>
          <a:xfrm>
            <a:off x="7382479" y="3497499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12" name="Google Shape;120;p28">
            <a:extLst>
              <a:ext uri="{FF2B5EF4-FFF2-40B4-BE49-F238E27FC236}">
                <a16:creationId xmlns:a16="http://schemas.microsoft.com/office/drawing/2014/main" id="{BF9212B0-DB00-8B88-EF39-8231CCC8CAAE}"/>
              </a:ext>
            </a:extLst>
          </p:cNvPr>
          <p:cNvSpPr/>
          <p:nvPr/>
        </p:nvSpPr>
        <p:spPr>
          <a:xfrm rot="21598889">
            <a:off x="10040690" y="4518331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89 mm 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7.44 in</a:t>
            </a:r>
          </a:p>
        </p:txBody>
      </p:sp>
      <p:sp>
        <p:nvSpPr>
          <p:cNvPr id="14" name="Google Shape;121;p28">
            <a:extLst>
              <a:ext uri="{FF2B5EF4-FFF2-40B4-BE49-F238E27FC236}">
                <a16:creationId xmlns:a16="http://schemas.microsoft.com/office/drawing/2014/main" id="{82874251-53AF-7CA6-A8B7-B40BC0B10C3A}"/>
              </a:ext>
            </a:extLst>
          </p:cNvPr>
          <p:cNvSpPr/>
          <p:nvPr/>
        </p:nvSpPr>
        <p:spPr>
          <a:xfrm>
            <a:off x="7205957" y="4183008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211 mm / </a:t>
            </a:r>
            <a:br>
              <a:rPr lang="el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8.30 in</a:t>
            </a:r>
          </a:p>
        </p:txBody>
      </p:sp>
      <p:sp>
        <p:nvSpPr>
          <p:cNvPr id="21" name="Google Shape;122;p28">
            <a:extLst>
              <a:ext uri="{FF2B5EF4-FFF2-40B4-BE49-F238E27FC236}">
                <a16:creationId xmlns:a16="http://schemas.microsoft.com/office/drawing/2014/main" id="{3FD37C9A-4326-153A-B0E3-73B5241C50D9}"/>
              </a:ext>
            </a:extLst>
          </p:cNvPr>
          <p:cNvSpPr/>
          <p:nvPr/>
        </p:nvSpPr>
        <p:spPr>
          <a:xfrm rot="21598889">
            <a:off x="10972800" y="3200400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81 mm / </a:t>
            </a:r>
            <a:br>
              <a:rPr lang="el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.18 in</a:t>
            </a:r>
          </a:p>
        </p:txBody>
      </p:sp>
      <p:graphicFrame>
        <p:nvGraphicFramePr>
          <p:cNvPr id="22" name="Table 3">
            <a:extLst>
              <a:ext uri="{FF2B5EF4-FFF2-40B4-BE49-F238E27FC236}">
                <a16:creationId xmlns:a16="http://schemas.microsoft.com/office/drawing/2014/main" id="{7533B533-94B8-A6B1-5BF0-D5C7C38E83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938522"/>
              </p:ext>
            </p:extLst>
          </p:nvPr>
        </p:nvGraphicFramePr>
        <p:xfrm>
          <a:off x="475521" y="1330045"/>
          <a:ext cx="4886310" cy="2819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774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595536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Τεχνικά χαρακτηριστικά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l" sz="10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Ταχυφορτιστής 36V NBC215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Πλατφόρμα με μπαταρία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Σειρά 36V NBP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Ρεύμα φόρτισης</a:t>
                      </a:r>
                    </a:p>
                  </a:txBody>
                  <a:tcPr marL="0" marR="0" marT="64008" marB="640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Μέγ. 5A</a:t>
                      </a:r>
                      <a:endParaRPr kumimoji="0" lang="el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Τροφοδοσία ρεύματος (V/hz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00-240 / 50-60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161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3457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Χρόνος φόρτισης (λεπτά, περίπου) </a:t>
                      </a:r>
                      <a:r>
                        <a:rPr lang="el" sz="900" b="0" i="0" u="none" baseline="0">
                          <a:solidFill>
                            <a:schemeClr val="tx1"/>
                          </a:solidFill>
                          <a:latin typeface="+mj-lt"/>
                          <a:ea typeface="+mj-lt"/>
                          <a:cs typeface="+mj-lt"/>
                        </a:rPr>
                        <a:t>NBP60</a:t>
                      </a:r>
                      <a:r>
                        <a:rPr lang="el" sz="900" b="1" i="0" u="none" baseline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- 80% / 90% / 100%</a:t>
                      </a:r>
                      <a:endParaRPr lang="el" sz="900" b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55 / 65 / 80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Χρόνος φόρτισης (λεπτά, περίπου) </a:t>
                      </a:r>
                      <a:r>
                        <a:rPr lang="el" sz="900" b="0" i="0" u="none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BP100</a:t>
                      </a:r>
                      <a:r>
                        <a:rPr lang="el" sz="900" b="1" i="0" u="none" baseline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– 80% / 90% / 100%</a:t>
                      </a:r>
                      <a:endParaRPr lang="el" sz="900" b="1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 / 100 / 130</a:t>
                      </a: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endParaRPr lang="el" sz="900" noProof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906519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Βάρος (kg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47751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l" sz="900" b="0" i="0" u="none" baseline="0">
                          <a:solidFill>
                            <a:schemeClr val="tx1"/>
                          </a:solidFill>
                        </a:rPr>
                        <a:t>Διαστάσεις ΜxΠxΥ (mm)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211x189x81</a:t>
                      </a:r>
                    </a:p>
                  </a:txBody>
                  <a:tcPr marL="0" marR="0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7001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F515BF-CA25-2E1C-A7BC-0BF225B96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44C6B89-DA5D-3F14-7859-16B89BD393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939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4C6B89-DA5D-3F14-7859-16B89BD39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251FE8-BA87-5588-B963-52D3CD05BFF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3</a:t>
            </a:fld>
            <a:endParaRPr lang="el" noProof="0"/>
          </a:p>
        </p:txBody>
      </p:sp>
      <p:pic>
        <p:nvPicPr>
          <p:cNvPr id="2" name="Pladsholder til indhold 1" descr="Et billede, der indeholder container, karton, pap, Emballage&#10;&#10;AI-genereret indhold kan være ukorrekt.">
            <a:extLst>
              <a:ext uri="{FF2B5EF4-FFF2-40B4-BE49-F238E27FC236}">
                <a16:creationId xmlns:a16="http://schemas.microsoft.com/office/drawing/2014/main" id="{474F07E6-FFB0-67DA-0037-3752D04BECA8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2139" y="1510158"/>
            <a:ext cx="3983370" cy="4610837"/>
          </a:xfrm>
          <a:prstGeom prst="rect">
            <a:avLst/>
          </a:prstGeom>
          <a:solidFill>
            <a:srgbClr val="FFFFFF"/>
          </a:solidFill>
          <a:effectLst>
            <a:outerShdw blurRad="139700" sx="102000" sy="102000" algn="ctr" rotWithShape="0">
              <a:srgbClr val="B3BBC5">
                <a:alpha val="30000"/>
              </a:srgbClr>
            </a:outerShdw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830CAB-FEAA-C483-713A-7CDCF27A95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Νέα βελτιωμένη σχεδίαση κουτιού μηχανήματος | Καλύτερη παρουσία στους εκθεσιακούς χώρους/αντιπροσώπους και γρήγορη προβολή των KSP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FA7AD1-EE6C-1218-7CE5-69910A5C2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dirty="0"/>
              <a:t>4</a:t>
            </a:r>
            <a:r>
              <a:rPr lang="el" b="1" i="0" u="none" baseline="0" dirty="0"/>
              <a:t> | Συσκευασία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76A64508-3536-A599-B9B9-531E15B948CD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l" noProof="0"/>
          </a:p>
        </p:txBody>
      </p:sp>
      <p:sp>
        <p:nvSpPr>
          <p:cNvPr id="5" name="Footer Placeholder 15">
            <a:extLst>
              <a:ext uri="{FF2B5EF4-FFF2-40B4-BE49-F238E27FC236}">
                <a16:creationId xmlns:a16="http://schemas.microsoft.com/office/drawing/2014/main" id="{874F0A2F-15B9-073F-C10E-A566303DE90C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736704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el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sz="1000" b="0" i="0" u="none" baseline="0" dirty="0">
                <a:solidFill>
                  <a:schemeClr val="bg2"/>
                </a:solidFill>
              </a:rPr>
              <a:t>ΕΜΠΙΣΤΕΥΤΙΚΕΣ ΠΛΗΡΟΦΟΡΙΕΣ ΕΤΑΙΡΕΙΑΣ</a:t>
            </a:r>
          </a:p>
        </p:txBody>
      </p:sp>
    </p:spTree>
    <p:extLst>
      <p:ext uri="{BB962C8B-B14F-4D97-AF65-F5344CB8AC3E}">
        <p14:creationId xmlns:p14="http://schemas.microsoft.com/office/powerpoint/2010/main" val="167295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62D33-2D02-3F19-744F-DD48C4D91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10C155-DC61-9133-ECF3-0DB3BC15DC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10C155-DC61-9133-ECF3-0DB3BC15D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E35A547-AE01-3C89-3B36-E8ACC9B507B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05963" y="1763713"/>
            <a:ext cx="2586037" cy="776287"/>
          </a:xfrm>
        </p:spPr>
        <p:txBody>
          <a:bodyPr/>
          <a:lstStyle/>
          <a:p>
            <a:pPr algn="l" rtl="0"/>
            <a:r>
              <a:rPr lang="el" b="0" i="0" u="none" baseline="0"/>
              <a:t>Nilfisk προς αντιπροσώπους</a:t>
            </a: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6B28E8AF-58A5-55F7-490D-D9F0ED032BE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05963" y="1797050"/>
            <a:ext cx="2586037" cy="774700"/>
          </a:xfrm>
        </p:spPr>
        <p:txBody>
          <a:bodyPr/>
          <a:lstStyle/>
          <a:p>
            <a:pPr algn="l" rtl="0"/>
            <a:r>
              <a:rPr lang="el" b="0" i="0" u="none" baseline="0"/>
              <a:t>Πακέτο για αντιπροσώπους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8BD0A1D-F244-3BDA-A756-B6BF70FF9F68}"/>
              </a:ext>
            </a:extLst>
          </p:cNvPr>
          <p:cNvSpPr txBox="1"/>
          <p:nvPr/>
        </p:nvSpPr>
        <p:spPr>
          <a:xfrm>
            <a:off x="6738151" y="3429000"/>
            <a:ext cx="1633492" cy="2374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98755" indent="0" algn="l" rtl="0">
              <a:lnSpc>
                <a:spcPct val="200000"/>
              </a:lnSpc>
              <a:spcBef>
                <a:spcPts val="0"/>
              </a:spcBef>
              <a:buNone/>
            </a:pPr>
            <a:endParaRPr lang="el" sz="1600" b="1" noProof="0">
              <a:latin typeface="+mj-lt"/>
              <a:ea typeface="Roboto Ligh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1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8C20A-4CDC-D149-FF7A-5EEC25F8D1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E5650-89F2-7E8E-A4CA-509AF845E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9791CA9-B249-F610-DE45-34431A95D05A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>
          <a:xfrm>
            <a:off x="920896" y="6529068"/>
            <a:ext cx="3020168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D83479B-3BA7-102D-FB1A-261482403A4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</a:t>
            </a:fld>
            <a:endParaRPr lang="el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C482A00-E068-8584-E1D1-589CB9E8976C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Υπόβαθρο και VP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C8F2A2EA-CD24-FA1D-D971-0C276BABD709}"/>
              </a:ext>
            </a:extLst>
          </p:cNvPr>
          <p:cNvSpPr txBox="1">
            <a:spLocks/>
          </p:cNvSpPr>
          <p:nvPr/>
        </p:nvSpPr>
        <p:spPr>
          <a:xfrm>
            <a:off x="1968167" y="2329316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 dirty="0">
                <a:solidFill>
                  <a:schemeClr val="bg2"/>
                </a:solidFill>
              </a:rPr>
              <a:t>Νέα απορροφητική σκούπα με μπαταρία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7F23863C-20B2-AB94-93A9-373D192B838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3256859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 dirty="0">
                <a:solidFill>
                  <a:schemeClr val="bg2"/>
                </a:solidFill>
              </a:rPr>
              <a:t>Κυριότερα σημεία πώλησης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995CF2D-4494-1505-B22C-9FD212E9466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4194725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Άλλο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AEAD9FC6-4EE4-9B13-56A1-9A712F264384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3A3EFA88-ED1D-4F36-87CE-448E8B498E0D}"/>
              </a:ext>
            </a:extLst>
          </p:cNvPr>
          <p:cNvSpPr txBox="1">
            <a:spLocks/>
          </p:cNvSpPr>
          <p:nvPr/>
        </p:nvSpPr>
        <p:spPr>
          <a:xfrm>
            <a:off x="1117600" y="2329316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b="1" i="0" u="none" baseline="0" dirty="0"/>
              <a:t>2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27B7854E-E332-29BF-5DF4-38D7FDE4021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3256859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l" dirty="0"/>
              <a:t>3</a:t>
            </a:r>
            <a:endParaRPr lang="el" b="1" i="0" u="none" baseline="0" dirty="0"/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3D44663C-E03A-F83E-D31B-4ACC82CD139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41947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l" dirty="0"/>
              <a:t>4</a:t>
            </a:r>
            <a:endParaRPr lang="el" b="1" i="0" u="none" baseline="0" dirty="0"/>
          </a:p>
        </p:txBody>
      </p:sp>
      <p:pic>
        <p:nvPicPr>
          <p:cNvPr id="7" name="Picture Placeholder 6" descr="A person vacuuming a couch&#10;&#10;AI-generated content may be incorrect.">
            <a:extLst>
              <a:ext uri="{FF2B5EF4-FFF2-40B4-BE49-F238E27FC236}">
                <a16:creationId xmlns:a16="http://schemas.microsoft.com/office/drawing/2014/main" id="{6D1E5C95-9A65-A1E6-73D4-115009F7C61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0509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BECE291-7003-8008-295B-6B2ADC597B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ECE291-7003-8008-295B-6B2ADC597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7B0EC586-773A-8E31-3D2A-37136B34C4D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95159" y="0"/>
            <a:ext cx="5986461" cy="6284890"/>
          </a:xfrm>
        </p:spPr>
      </p:pic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7BE7E09D-9282-BDDF-6D69-228F65299D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4" y="1159393"/>
            <a:ext cx="6515735" cy="4870450"/>
          </a:xfrm>
        </p:spPr>
        <p:txBody>
          <a:bodyPr/>
          <a:lstStyle/>
          <a:p>
            <a:pPr marL="0" indent="0" algn="l" rtl="0">
              <a:buNone/>
            </a:pPr>
            <a:r>
              <a:rPr lang="el" b="0" i="0" u="none" baseline="0" dirty="0"/>
              <a:t>Ως μέρος του δεύτερου κύματος ανανέωσης του χαρτοφυλακίου κόμπακτ μηχανημάτων με δοχείο στερεών, μια επέκταση της σειράς VP300 και της οπτικής ταυτότητας, παρουσιάζουμε το νέο </a:t>
            </a:r>
            <a:r>
              <a:rPr lang="el" b="0" i="0" u="none" baseline="0" dirty="0">
                <a:latin typeface="+mj-lt"/>
                <a:ea typeface="+mj-lt"/>
                <a:cs typeface="+mj-lt"/>
              </a:rPr>
              <a:t>Nilfisk VP500</a:t>
            </a:r>
            <a:r>
              <a:rPr lang="el" b="0" i="0" u="none" baseline="0" dirty="0"/>
              <a:t>.</a:t>
            </a:r>
          </a:p>
          <a:p>
            <a:pPr marL="0" indent="0" algn="l" rtl="0">
              <a:buNone/>
            </a:pPr>
            <a:endParaRPr lang="el" noProof="0" dirty="0"/>
          </a:p>
          <a:p>
            <a:pPr marL="0" indent="0" algn="l" rtl="0">
              <a:buNone/>
            </a:pPr>
            <a:r>
              <a:rPr lang="el" b="0" i="0" u="none" baseline="0" dirty="0"/>
              <a:t>Μια επαγγελματική απορροφητική σκούπα στερεών, χωρίς καλώδιο, με στόχο να αποτελέσει σημαντικό παίκτη στην κατηγορία των κόμπακτ συσκευών που λειτουργούν με μπαταρία. Η προηγούμενη μονάδα της Nilfisk υστερούσε σε μερικές παραμέτρους: κόστος, απόδοση, μέγεθος, βάρος - Εδώ θα αποκτήσετε μια δύναμη που αλλάζει το παιχνίδι, σε συνδυασμό με μια βάση η οποία παρέχει </a:t>
            </a:r>
            <a:br>
              <a:rPr lang="el" dirty="0"/>
            </a:br>
            <a:r>
              <a:rPr lang="el" b="0" i="0" u="none" baseline="0" dirty="0"/>
              <a:t> πραγματικό ανταγωνιστικό πλεονέκτημα.</a:t>
            </a:r>
          </a:p>
          <a:p>
            <a:pPr marL="0" indent="0" algn="l" rtl="0">
              <a:buNone/>
            </a:pPr>
            <a:endParaRPr lang="el" noProof="0" dirty="0"/>
          </a:p>
          <a:p>
            <a:pPr marL="0" indent="0" algn="l" rtl="0">
              <a:buNone/>
            </a:pPr>
            <a:r>
              <a:rPr lang="el" b="0" i="0" u="none" baseline="0" dirty="0">
                <a:latin typeface="+mj-lt"/>
                <a:ea typeface="+mj-lt"/>
                <a:cs typeface="+mj-lt"/>
              </a:rPr>
              <a:t>VP500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el" sz="1200" b="0" i="0" u="none" baseline="0" dirty="0"/>
              <a:t>Ελευθερία σε άλλο επίπεδο - παρά την μπαταρία και τη μεγάλη πρακτική χωρητικότητα σε σύγκριση με το μέγεθος, είναι εξαιρετικά συμπαγής και ελαφριά.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el" sz="1200" b="0" i="0" u="none" baseline="0" dirty="0"/>
              <a:t>Από τις πιο αθόρυβες ασύρματες απορροφητικές σκούπες της κατηγορίας της - αλλά και η πιο αποδοτική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el" sz="1200" b="0" i="0" u="none" baseline="0" dirty="0"/>
              <a:t>Διαισθητική χρήση με επισημασμένη διεπαφή χρήστη - </a:t>
            </a:r>
            <a:r>
              <a:rPr lang="el" sz="1200" b="0" i="1" u="sng" baseline="0" dirty="0"/>
              <a:t>ζωντανός</a:t>
            </a:r>
            <a:r>
              <a:rPr lang="el" sz="1200" b="0" i="0" u="none" baseline="0" dirty="0"/>
              <a:t> και </a:t>
            </a:r>
            <a:r>
              <a:rPr lang="el" sz="1200" b="0" i="1" u="sng" baseline="0" dirty="0"/>
              <a:t>γρήγορος</a:t>
            </a:r>
            <a:r>
              <a:rPr lang="el" sz="1200" b="0" i="0" u="none" baseline="0" dirty="0"/>
              <a:t> έλεγχος επιπέδου μπαταρίας </a:t>
            </a:r>
            <a:br>
              <a:rPr lang="el" sz="1200" dirty="0"/>
            </a:br>
            <a:r>
              <a:rPr lang="el" sz="1200" b="0" i="0" u="none" baseline="0" dirty="0"/>
              <a:t>(μπροστά από το μηχάνημα)</a:t>
            </a:r>
          </a:p>
          <a:p>
            <a:pPr marL="201168" lvl="1" indent="-201168" algn="l" rtl="0">
              <a:buFont typeface="Arial" panose="020B0604020202020204" pitchFamily="34" charset="0"/>
              <a:buChar char="•"/>
            </a:pPr>
            <a:r>
              <a:rPr lang="el" sz="1200" b="0" i="0" u="none" baseline="0" dirty="0"/>
              <a:t>Μπαταρία με δυνατότητα ταχείας φόρτισης και εναλλαγής εν λειτουργία, για συνεχή χρήση</a:t>
            </a:r>
          </a:p>
          <a:p>
            <a:pPr marL="0" indent="0" algn="l" rtl="0">
              <a:lnSpc>
                <a:spcPct val="100000"/>
              </a:lnSpc>
              <a:buNone/>
            </a:pPr>
            <a:endParaRPr lang="el" noProof="0" dirty="0"/>
          </a:p>
          <a:p>
            <a:pPr marL="0" indent="0" algn="l" rtl="0">
              <a:buNone/>
            </a:pPr>
            <a:r>
              <a:rPr lang="el" b="0" i="0" u="none" baseline="0" dirty="0"/>
              <a:t>Με αυτό το ασύρματο φαινόμενο, συμπληρώνεται εξαιρετικά η σειρά της Nilfisk με επαγγελματικές απορροφητικές σκούπες μικρού μεγέθους με δοχείο στερεών Nilfisk.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DCD1D9E-61DF-C6D8-D09A-2E9E3BAF8D5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</a:t>
            </a:fld>
            <a:endParaRPr lang="el" noProof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87511F4D-091A-D5EA-3481-512E07AE8B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415" y="873877"/>
            <a:ext cx="5507038" cy="376456"/>
          </a:xfrm>
        </p:spPr>
        <p:txBody>
          <a:bodyPr/>
          <a:lstStyle/>
          <a:p>
            <a:pPr algn="l" rtl="0"/>
            <a:r>
              <a:rPr lang="el" b="0" i="0" u="none" baseline="0"/>
              <a:t>VP500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8C5DED-08B7-C2AE-3585-5619CDE0B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1 | Υπόβαθρο 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4C874DFA-11DD-2219-74C9-5FE34405955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919584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</p:spTree>
    <p:extLst>
      <p:ext uri="{BB962C8B-B14F-4D97-AF65-F5344CB8AC3E}">
        <p14:creationId xmlns:p14="http://schemas.microsoft.com/office/powerpoint/2010/main" val="147092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9E80AA6-C8BD-FEF5-2A31-122F342890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5898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80AA6-C8BD-FEF5-2A31-122F3428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C3BC2-CD46-F5AC-9A2F-615629BD81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2535536" cy="153888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ΕΜΠΙΣΤΕΥΤΙΚΕΣ ΠΛΗΡΟΦΟΡΙΕΣ ΕΤΑΙΡΕΙΑΣ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B1C8C-E160-42EB-07B2-8B9843319EA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l" sz="1000" b="0" i="0" u="none" strike="noStrike" kern="1200" cap="none" spc="0" normalizeH="0" baseline="0" noProof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34BA2B4-1083-357E-3701-8B92912B9A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Στρατηγική χρωμάτων για επαγγελματικά προϊόντα νέας γενιάς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DE3105-E8FC-9506-059D-CB83AEEEF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1 | Υπόβαθρο - Επωνυμία και σχεδίαση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D99E1E8-297C-830D-92A3-5E97A12A7FC6}"/>
              </a:ext>
            </a:extLst>
          </p:cNvPr>
          <p:cNvGrpSpPr/>
          <p:nvPr/>
        </p:nvGrpSpPr>
        <p:grpSpPr>
          <a:xfrm>
            <a:off x="486872" y="2930954"/>
            <a:ext cx="732916" cy="968740"/>
            <a:chOff x="571715" y="2789281"/>
            <a:chExt cx="732916" cy="968740"/>
          </a:xfrm>
        </p:grpSpPr>
        <p:sp>
          <p:nvSpPr>
            <p:cNvPr id="4" name="Rounded Rectangle 57">
              <a:extLst>
                <a:ext uri="{FF2B5EF4-FFF2-40B4-BE49-F238E27FC236}">
                  <a16:creationId xmlns:a16="http://schemas.microsoft.com/office/drawing/2014/main" id="{44FD7CB0-81E2-375A-D999-484CAE995625}"/>
                </a:ext>
              </a:extLst>
            </p:cNvPr>
            <p:cNvSpPr/>
            <p:nvPr/>
          </p:nvSpPr>
          <p:spPr>
            <a:xfrm>
              <a:off x="571715" y="2789281"/>
              <a:ext cx="341595" cy="968740"/>
            </a:xfrm>
            <a:prstGeom prst="round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7" name="Rounded Rectangle 58">
              <a:extLst>
                <a:ext uri="{FF2B5EF4-FFF2-40B4-BE49-F238E27FC236}">
                  <a16:creationId xmlns:a16="http://schemas.microsoft.com/office/drawing/2014/main" id="{BFCC6A48-F183-994D-F4BA-B34754A157CA}"/>
                </a:ext>
              </a:extLst>
            </p:cNvPr>
            <p:cNvSpPr/>
            <p:nvPr/>
          </p:nvSpPr>
          <p:spPr>
            <a:xfrm>
              <a:off x="963036" y="2789281"/>
              <a:ext cx="341595" cy="141426"/>
            </a:xfrm>
            <a:prstGeom prst="round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" name="Rounded Rectangle 59">
              <a:extLst>
                <a:ext uri="{FF2B5EF4-FFF2-40B4-BE49-F238E27FC236}">
                  <a16:creationId xmlns:a16="http://schemas.microsoft.com/office/drawing/2014/main" id="{9D94675B-5B4E-C715-4AED-CD86CC6BBD3E}"/>
                </a:ext>
              </a:extLst>
            </p:cNvPr>
            <p:cNvSpPr/>
            <p:nvPr/>
          </p:nvSpPr>
          <p:spPr>
            <a:xfrm>
              <a:off x="965963" y="2982337"/>
              <a:ext cx="225159" cy="141426"/>
            </a:xfrm>
            <a:prstGeom prst="round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" name="Rounded Rectangle 60">
              <a:extLst>
                <a:ext uri="{FF2B5EF4-FFF2-40B4-BE49-F238E27FC236}">
                  <a16:creationId xmlns:a16="http://schemas.microsoft.com/office/drawing/2014/main" id="{2C052A14-A879-40FC-9191-0B2199923227}"/>
                </a:ext>
              </a:extLst>
            </p:cNvPr>
            <p:cNvSpPr/>
            <p:nvPr/>
          </p:nvSpPr>
          <p:spPr>
            <a:xfrm>
              <a:off x="971422" y="3180968"/>
              <a:ext cx="87111" cy="141426"/>
            </a:xfrm>
            <a:prstGeom prst="round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E9D3D094-3C5B-3347-84BC-723E089609AB}"/>
              </a:ext>
            </a:extLst>
          </p:cNvPr>
          <p:cNvSpPr txBox="1"/>
          <p:nvPr/>
        </p:nvSpPr>
        <p:spPr>
          <a:xfrm>
            <a:off x="390678" y="2632511"/>
            <a:ext cx="17114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Χρώματα προϊόντων και αναλογίες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F82A0AD-1A75-E074-F45D-C19528BD614A}"/>
              </a:ext>
            </a:extLst>
          </p:cNvPr>
          <p:cNvGrpSpPr/>
          <p:nvPr/>
        </p:nvGrpSpPr>
        <p:grpSpPr>
          <a:xfrm>
            <a:off x="484969" y="4169353"/>
            <a:ext cx="1983111" cy="1377838"/>
            <a:chOff x="484969" y="4099329"/>
            <a:chExt cx="1983111" cy="1377838"/>
          </a:xfrm>
        </p:grpSpPr>
        <p:pic>
          <p:nvPicPr>
            <p:cNvPr id="14" name="Picture 13" descr="A picture containing control panel&#10;&#10;Description automatically generated">
              <a:extLst>
                <a:ext uri="{FF2B5EF4-FFF2-40B4-BE49-F238E27FC236}">
                  <a16:creationId xmlns:a16="http://schemas.microsoft.com/office/drawing/2014/main" id="{6D199632-F9AC-50BF-0DE7-D492B166222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4969" y="4099329"/>
              <a:ext cx="1133542" cy="1107716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71742E2-B1CB-9FFC-5309-887EB028D6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1053" y="4216053"/>
              <a:ext cx="1447027" cy="1261114"/>
            </a:xfrm>
            <a:prstGeom prst="rect">
              <a:avLst/>
            </a:prstGeom>
          </p:spPr>
        </p:pic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4899A510-FB50-7C21-B26E-9F57FC19F4FB}"/>
              </a:ext>
            </a:extLst>
          </p:cNvPr>
          <p:cNvSpPr/>
          <p:nvPr/>
        </p:nvSpPr>
        <p:spPr>
          <a:xfrm>
            <a:off x="8730404" y="1412875"/>
            <a:ext cx="2976648" cy="11034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Κύριο χρώμα σώματος προϊόντος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Αυτό είναι το κύριο χρώμα προϊόντος που πρέπει να χρησιμοποιείται σε όλα τα </a:t>
            </a:r>
            <a:b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</a:b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κύρια μέρη.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65497DF-E1C1-495E-52E8-2685E36F2B4D}"/>
              </a:ext>
            </a:extLst>
          </p:cNvPr>
          <p:cNvSpPr/>
          <p:nvPr/>
        </p:nvSpPr>
        <p:spPr>
          <a:xfrm>
            <a:off x="8730404" y="4916567"/>
            <a:ext cx="2976648" cy="11034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Χρώμα για την ασφάλεια / το σέρβις</a:t>
            </a:r>
          </a:p>
          <a:p>
            <a:pPr lvl="0" algn="l" defTabSz="914400" rtl="0">
              <a:lnSpc>
                <a:spcPct val="120000"/>
              </a:lnSpc>
              <a:spcBef>
                <a:spcPts val="600"/>
              </a:spcBef>
              <a:defRPr/>
            </a:pPr>
            <a:r>
              <a:rPr lang="el" sz="800" b="0" i="0" u="none" baseline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Όλα τα εξαρτήματα σε αυτό το χρώμα υποδεικνύουν στοιχεία ασφαλείας </a:t>
            </a:r>
            <a:br>
              <a:rPr lang="el" sz="80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el" sz="800" b="0" i="0" u="none" baseline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π.χ. καλώδια φόρτισης, κουμπιά αναστροφής) και σημεία σέρβις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0815BB5-479A-E497-82B2-7655D21A69EB}"/>
              </a:ext>
            </a:extLst>
          </p:cNvPr>
          <p:cNvSpPr/>
          <p:nvPr/>
        </p:nvSpPr>
        <p:spPr>
          <a:xfrm>
            <a:off x="8730404" y="3748669"/>
            <a:ext cx="2976648" cy="11034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Χρώμα για τη λειτουργία των σημείων αφής χρήστη</a:t>
            </a:r>
          </a:p>
          <a:p>
            <a:pPr lvl="0" algn="l" defTabSz="914400" rtl="0">
              <a:lnSpc>
                <a:spcPct val="120000"/>
              </a:lnSpc>
              <a:spcBef>
                <a:spcPts val="600"/>
              </a:spcBef>
              <a:defRPr/>
            </a:pPr>
            <a:r>
              <a:rPr lang="el" sz="800" b="0" i="0" u="none" baseline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Διακόπτες, κουμπιά, καπάκια, λαβές. Κάθε μέρος με αυτό το χρώμα προορίζεται για αλληλεπίδραση, για τον αποτελεσματικό χειρισμό του μηχανήματος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1AA68B4-F48E-DD23-3EEA-7E8FCD39A826}"/>
              </a:ext>
            </a:extLst>
          </p:cNvPr>
          <p:cNvSpPr/>
          <p:nvPr/>
        </p:nvSpPr>
        <p:spPr>
          <a:xfrm>
            <a:off x="8730404" y="2580772"/>
            <a:ext cx="2976648" cy="11034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Χρώμα για την εργονομία / τα χαρακτηριστικά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Ένα χρώμα που τονίζει τις εργονομικές περιοχές (π.χ. λαβή) και τα ειδικά χαρακτηριστικά και USP του προϊόντος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C91EBB-5F87-292C-4C5D-1787F90497DC}"/>
              </a:ext>
            </a:extLst>
          </p:cNvPr>
          <p:cNvSpPr txBox="1"/>
          <p:nvPr/>
        </p:nvSpPr>
        <p:spPr>
          <a:xfrm>
            <a:off x="3630938" y="5351899"/>
            <a:ext cx="3219442" cy="63222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Η νέα παλέτα επαγγελματικών CMF έχει ερευνηθεί, αναπτυχθεί και δοκιμαστεί εκτεταμένα - </a:t>
            </a:r>
            <a:r>
              <a:rPr lang="el" sz="1000" b="0" i="0" u="none" baseline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 υποστηρίζει τη </a:t>
            </a:r>
            <a:r>
              <a:rPr kumimoji="0" lang="el" sz="10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διαισθητική χρηστικότητα.</a:t>
            </a:r>
            <a:endParaRPr lang="el" sz="1000" noProof="0">
              <a:latin typeface="Roboto Light"/>
              <a:ea typeface="Roboto Light"/>
              <a:cs typeface="Roboto Ligh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D925CB-137C-AC9A-F079-AB8EFE5BC96F}"/>
              </a:ext>
            </a:extLst>
          </p:cNvPr>
          <p:cNvSpPr txBox="1"/>
          <p:nvPr/>
        </p:nvSpPr>
        <p:spPr>
          <a:xfrm>
            <a:off x="2854424" y="1792821"/>
            <a:ext cx="4971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rtl="0">
              <a:buNone/>
            </a:pPr>
            <a:r>
              <a:rPr lang="el" sz="1800" b="0" i="0" u="none" baseline="0">
                <a:latin typeface="+mj-lt"/>
                <a:ea typeface="+mj-lt"/>
                <a:cs typeface="+mj-lt"/>
              </a:rPr>
              <a:t>Νέα επαγγελματικά (PBLS) </a:t>
            </a:r>
          </a:p>
        </p:txBody>
      </p:sp>
      <p:pic>
        <p:nvPicPr>
          <p:cNvPr id="3" name="Picture 2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0F4C49C3-BFE4-1E15-AD8C-0CEDE87898B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2794" y="2387140"/>
            <a:ext cx="2907586" cy="322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47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74D809-B7FE-9972-1B66-BDA7312D57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6600A-C8D4-E45E-F902-95A4FB4DC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8570105-A9B4-E753-7BA5-A04C38EE828A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>
          <a:xfrm>
            <a:off x="920896" y="6529068"/>
            <a:ext cx="2672696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5031114-8E52-91F2-26CA-D8EF32CE12B1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6</a:t>
            </a:fld>
            <a:endParaRPr lang="el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1A93B09-B889-C861-636C-283B8CB4216C}"/>
              </a:ext>
            </a:extLst>
          </p:cNvPr>
          <p:cNvSpPr txBox="1">
            <a:spLocks/>
          </p:cNvSpPr>
          <p:nvPr/>
        </p:nvSpPr>
        <p:spPr>
          <a:xfrm>
            <a:off x="1968167" y="138112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Υπόβαθρο και VP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5E5DE5F2-0C43-B938-6A48-8C3E39575558}"/>
              </a:ext>
            </a:extLst>
          </p:cNvPr>
          <p:cNvSpPr txBox="1">
            <a:spLocks/>
          </p:cNvSpPr>
          <p:nvPr/>
        </p:nvSpPr>
        <p:spPr>
          <a:xfrm>
            <a:off x="1968167" y="2304277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/>
              <a:t>Νέα απορροφητική σκούπα με μπαταρία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F97C911E-246E-D48C-5BD0-6E3A67B19652}"/>
              </a:ext>
            </a:extLst>
          </p:cNvPr>
          <p:cNvSpPr txBox="1">
            <a:spLocks/>
          </p:cNvSpPr>
          <p:nvPr/>
        </p:nvSpPr>
        <p:spPr>
          <a:xfrm>
            <a:off x="1968167" y="3156275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l" b="0" i="0" u="none" baseline="0" dirty="0">
                <a:solidFill>
                  <a:schemeClr val="bg2"/>
                </a:solidFill>
              </a:rPr>
              <a:t>Κυριότερα σημεία πώλησης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54FCB1DB-504F-95A8-608A-635BB594BC0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3976681"/>
            <a:ext cx="4710540" cy="698238"/>
          </a:xfrm>
        </p:spPr>
        <p:txBody>
          <a:bodyPr/>
          <a:lstStyle/>
          <a:p>
            <a:pPr algn="l" rtl="0"/>
            <a:r>
              <a:rPr lang="el" b="0" i="0" u="none" baseline="0">
                <a:solidFill>
                  <a:schemeClr val="bg2"/>
                </a:solidFill>
              </a:rPr>
              <a:t>Άλλο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592FCF7F-868A-E7E7-EAE2-FD8BB9A9D992}"/>
              </a:ext>
            </a:extLst>
          </p:cNvPr>
          <p:cNvSpPr txBox="1">
            <a:spLocks/>
          </p:cNvSpPr>
          <p:nvPr/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l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el" b="1" i="0" u="none" baseline="0"/>
              <a:t>1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B08DF9F2-E8E4-D1C4-87C2-D0FBACC3FD79}"/>
              </a:ext>
            </a:extLst>
          </p:cNvPr>
          <p:cNvSpPr txBox="1">
            <a:spLocks/>
          </p:cNvSpPr>
          <p:nvPr/>
        </p:nvSpPr>
        <p:spPr>
          <a:xfrm>
            <a:off x="1117600" y="2304277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l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rtl="0"/>
            <a:r>
              <a:rPr lang="en-US" dirty="0"/>
              <a:t>2</a:t>
            </a:r>
            <a:endParaRPr lang="el" b="1" i="0" u="none" baseline="0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A1093F53-3D56-A210-A8C9-D8782CB77443}"/>
              </a:ext>
            </a:extLst>
          </p:cNvPr>
          <p:cNvSpPr txBox="1">
            <a:spLocks/>
          </p:cNvSpPr>
          <p:nvPr/>
        </p:nvSpPr>
        <p:spPr>
          <a:xfrm>
            <a:off x="1117600" y="315627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dirty="0"/>
              <a:t>3</a:t>
            </a:r>
            <a:endParaRPr lang="el" b="1" i="0" u="none" baseline="0" dirty="0"/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ED9DC96F-E754-F327-8ADE-12A410F5807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3976681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l" dirty="0"/>
              <a:t>4</a:t>
            </a:r>
            <a:endParaRPr lang="el" b="1" i="0" u="none" baseline="0" dirty="0"/>
          </a:p>
        </p:txBody>
      </p:sp>
      <p:pic>
        <p:nvPicPr>
          <p:cNvPr id="3" name="Picture Placeholder 71">
            <a:extLst>
              <a:ext uri="{FF2B5EF4-FFF2-40B4-BE49-F238E27FC236}">
                <a16:creationId xmlns:a16="http://schemas.microsoft.com/office/drawing/2014/main" id="{EC6248EB-5491-F0DA-92CF-6DB75AF68A2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718" y="0"/>
            <a:ext cx="5262281" cy="6273800"/>
          </a:xfrm>
        </p:spPr>
      </p:pic>
    </p:spTree>
    <p:extLst>
      <p:ext uri="{BB962C8B-B14F-4D97-AF65-F5344CB8AC3E}">
        <p14:creationId xmlns:p14="http://schemas.microsoft.com/office/powerpoint/2010/main" val="35872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76DDD-EABE-878A-8EE0-53A75AA3C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7D1BF2-3783-0866-7400-6996F229C4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444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7D1BF2-3783-0866-7400-6996F229C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95F96E1-5AA6-0D2E-79C5-B6EC91B572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VP500 - Επαγγελματική ασύρματη απορροφητική σκούπα με δοχείο στερεών | Συμπαγής, ελαφριά και μοντέρνα</a:t>
            </a:r>
            <a:endParaRPr lang="el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7E0E44-CF33-E4F4-2467-7C38D9813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 dirty="0"/>
              <a:t>2 | Νέα απορροφητική σκούπα με μπαταρία</a:t>
            </a:r>
            <a:r>
              <a:rPr lang="el" b="0" i="0" u="none" baseline="0" dirty="0"/>
              <a:t>	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6F77DFB-9233-377A-1FD0-A6CFB1946DA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2654408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69D84A-0D8F-2C31-0734-A782C4F589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7</a:t>
            </a:fld>
            <a:endParaRPr lang="el" noProof="0"/>
          </a:p>
        </p:txBody>
      </p:sp>
      <p:pic>
        <p:nvPicPr>
          <p:cNvPr id="4" name="Picture 3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D829481D-0FE9-16C7-2232-4CA0E5EEE6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1772" y="1825740"/>
            <a:ext cx="4227351" cy="4682407"/>
          </a:xfrm>
          <a:prstGeom prst="rect">
            <a:avLst/>
          </a:prstGeom>
        </p:spPr>
      </p:pic>
      <p:pic>
        <p:nvPicPr>
          <p:cNvPr id="11" name="Picture 10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B182B43C-2152-C2E4-9A90-20931A99D60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0793" y="1774188"/>
            <a:ext cx="4600128" cy="47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78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4" y="0"/>
            <a:ext cx="5991225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 algn="l" rtl="0">
              <a:buNone/>
            </a:pPr>
            <a:r>
              <a:rPr lang="el" b="0" i="0" u="none" baseline="0"/>
              <a:t> </a:t>
            </a:r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52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A956474-9621-6B7B-1478-89FE2AA2875A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54476"/>
            <a:ext cx="5972650" cy="4870449"/>
          </a:xfrm>
        </p:spPr>
        <p:txBody>
          <a:bodyPr/>
          <a:lstStyle/>
          <a:p>
            <a:pPr marL="144000" marR="0" lvl="0" indent="-144000" algn="l" defTabSz="1023967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Βελτιωμένη συντηρησιμότητα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Φίλτρο</a:t>
            </a:r>
            <a:r>
              <a:rPr lang="el" sz="1000" b="0" i="0" u="none" baseline="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, </a:t>
            </a: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εύκολη πρόσβαση και </a:t>
            </a:r>
            <a:r>
              <a:rPr lang="el" sz="1000" b="0" i="0" u="none" baseline="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ΧΩΡΙΣ εργαλεία</a:t>
            </a:r>
            <a:endParaRPr kumimoji="0" lang="el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44000" indent="-144000" algn="l" rtl="0">
              <a:spcBef>
                <a:spcPts val="0"/>
              </a:spcBef>
            </a:pPr>
            <a:endParaRPr lang="el" sz="1000" noProof="0" dirty="0"/>
          </a:p>
          <a:p>
            <a:pPr marL="144000" indent="-144000" algn="l" rtl="0">
              <a:spcBef>
                <a:spcPts val="0"/>
              </a:spcBef>
              <a:buNone/>
              <a:defRPr/>
            </a:pPr>
            <a:r>
              <a:rPr lang="el" sz="1000" b="0" i="0" u="none" baseline="0" dirty="0">
                <a:solidFill>
                  <a:srgbClr val="28313F"/>
                </a:solidFill>
                <a:latin typeface="+mj-lt"/>
                <a:ea typeface="Roboto Light"/>
              </a:rPr>
              <a:t>Επιδόσεις/Απόδοση/Αντοχή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Βελτιωμένη απόδοση καθαρισμού παρά τη μείωση της κατανάλωσης ενέργειας</a:t>
            </a:r>
          </a:p>
          <a:p>
            <a:pPr lvl="1"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Αναρρόφηση +50% σε ορισμένες παραμέτρους παρά τη μείωση της ενέργειας κατά -</a:t>
            </a:r>
            <a:r>
              <a:rPr lang="el" sz="1000" b="0" i="0" u="none" baseline="0" dirty="0">
                <a:latin typeface="Roboto Light"/>
                <a:ea typeface="Roboto Light"/>
                <a:cs typeface="+mn-lt"/>
              </a:rPr>
              <a:t> 20</a:t>
            </a: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Roboto Light"/>
                <a:ea typeface="Roboto Light"/>
                <a:cs typeface="+mn-lt"/>
              </a:rPr>
              <a:t>%</a:t>
            </a:r>
          </a:p>
          <a:p>
            <a:pPr marL="199104" lvl="1" indent="0" algn="l" rtl="0">
              <a:spcBef>
                <a:spcPts val="0"/>
              </a:spcBef>
              <a:buNone/>
              <a:defRPr/>
            </a:pPr>
            <a:r>
              <a:rPr lang="el" sz="1000" b="0" i="0" u="none" baseline="0" dirty="0">
                <a:latin typeface="Roboto Light"/>
                <a:ea typeface="Roboto Light"/>
                <a:cs typeface="+mn-lt"/>
                <a:sym typeface="Wingdings" panose="05000000000000000000" pitchFamily="2" charset="2"/>
              </a:rPr>
              <a:t></a:t>
            </a:r>
            <a:r>
              <a:rPr lang="el" sz="1000" b="0" i="1" u="none" baseline="0" dirty="0">
                <a:latin typeface="Roboto Light"/>
                <a:ea typeface="Roboto Light"/>
                <a:cs typeface="+mn-lt"/>
              </a:rPr>
              <a:t> ολόκληρη η δομή, μοτέρ χωρίς ψήκτρες υψηλής απόδοσης, στεγανοποιήσεις, αξεσουάρ, κ.λπ.</a:t>
            </a:r>
            <a:endParaRPr kumimoji="0" lang="el" sz="10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 Light"/>
              <a:ea typeface="Roboto Light"/>
              <a:cs typeface="+mn-lt"/>
            </a:endParaRPr>
          </a:p>
          <a:p>
            <a:pPr algn="l" rtl="0">
              <a:spcBef>
                <a:spcPts val="0"/>
              </a:spcBef>
              <a:defRPr/>
            </a:pPr>
            <a:endParaRPr kumimoji="0" lang="el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+mn-lt"/>
            </a:endParaRP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Μεταξύ των καλύτερων επιπέδων ήχου στην κατηγορία </a:t>
            </a:r>
          </a:p>
          <a:p>
            <a:pPr lvl="1"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Μειωμένος θόρυβος 4dB (επίσημα πρότυπα δοκιμών)</a:t>
            </a:r>
          </a:p>
          <a:p>
            <a:pPr lvl="1" algn="l" rtl="0">
              <a:spcBef>
                <a:spcPts val="0"/>
              </a:spcBef>
              <a:defRPr/>
            </a:pPr>
            <a:endParaRPr lang="el" sz="1000" noProof="0" dirty="0">
              <a:solidFill>
                <a:srgbClr val="28313F"/>
              </a:solidFill>
              <a:latin typeface="Roboto Light"/>
              <a:ea typeface="Roboto Light"/>
              <a:cs typeface="+mn-lt"/>
            </a:endParaRP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1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Αυξημένη αντοχή και δυνατότητα καθημερινής χρήσης </a:t>
            </a:r>
          </a:p>
          <a:p>
            <a:pPr lvl="1" algn="l" rtl="0">
              <a:spcBef>
                <a:spcPts val="0"/>
              </a:spcBef>
              <a:defRPr/>
            </a:pPr>
            <a:r>
              <a:rPr kumimoji="0" lang="el" sz="1000" b="0" i="1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Προ-φίλτρο εύχρηστου μεγέθους και κορυφαία καθαρή χωρητικότητα πλήρωσης για ασύρματες επαγγελματικές απορροφητικές σκούπες </a:t>
            </a:r>
            <a:br>
              <a:rPr kumimoji="0" lang="el" sz="1000" b="0" i="1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</a:br>
            <a:endParaRPr lang="el" sz="1000" noProof="0" dirty="0"/>
          </a:p>
          <a:p>
            <a:pPr marL="144000" marR="0" lvl="0" indent="-144000" algn="l" rtl="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el" sz="1000" b="0" i="0" u="none" baseline="0" dirty="0">
                <a:solidFill>
                  <a:srgbClr val="28313F"/>
                </a:solidFill>
                <a:latin typeface="+mj-lt"/>
                <a:ea typeface="Roboto Light"/>
              </a:rPr>
              <a:t>Ενισχυμένο UX/Ευκολία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Μειωμένο βάρος - </a:t>
            </a:r>
            <a:r>
              <a:rPr kumimoji="0" lang="el" sz="1000" b="0" i="0" u="sng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εξαιρετικά</a:t>
            </a: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 (3 kg λιγότερο συμπερ. μπαταρία και μηχάνημα σε σύγκριση με το VP600 B)</a:t>
            </a:r>
            <a:endParaRPr kumimoji="0" lang="el" sz="1000" b="0" i="0" u="sng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Μικρό αποτύπωμα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Γρήγορη αλλαγή μπαταρίας εν λειτουργία </a:t>
            </a:r>
            <a:r>
              <a:rPr lang="el" sz="1000" b="0" i="0" u="none" baseline="0" dirty="0">
                <a:solidFill>
                  <a:srgbClr val="28313F"/>
                </a:solidFill>
              </a:rPr>
              <a:t> </a:t>
            </a:r>
            <a:r>
              <a:rPr lang="el" sz="1000" b="0" i="0" u="none" baseline="0" dirty="0">
                <a:solidFill>
                  <a:srgbClr val="28313F"/>
                </a:solidFill>
                <a:ea typeface="Roboto Light"/>
                <a:cs typeface="Roboto Light"/>
              </a:rPr>
              <a:t>- και επισημασμένα σημεία αφής σε όλο το σώμα του προϊόντος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Εργονομικού σχήματος σημεία αφής (λαβή, λυγισμένο άκρο, μάνδαλο)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Ανθεκτικός μεγάλος διακόπτης ισχύος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Καθοδήγηση με εικονίδια και εικόνες (περιοχές μπαταριών, πόρτα κύριου φίλτρου, προφίλτρο κ.λπ.)</a:t>
            </a:r>
          </a:p>
          <a:p>
            <a:pPr algn="l" rtl="0">
              <a:spcBef>
                <a:spcPts val="0"/>
              </a:spcBef>
              <a:defRPr/>
            </a:pPr>
            <a:r>
              <a:rPr lang="el" sz="1000" b="0" i="0" u="none" baseline="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Εύκολη επιδιόρθωση/αντικατάσταση εύκαμπτου σωλήνα </a:t>
            </a:r>
            <a:endParaRPr kumimoji="0" lang="el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44000" indent="-144000" algn="l" rtl="0">
              <a:spcBef>
                <a:spcPts val="0"/>
              </a:spcBef>
            </a:pPr>
            <a:endParaRPr lang="el" sz="1000" noProof="0" dirty="0"/>
          </a:p>
          <a:p>
            <a:pPr marL="144000" indent="-144000" algn="l" rtl="0">
              <a:spcBef>
                <a:spcPts val="0"/>
              </a:spcBef>
              <a:buNone/>
              <a:defRPr/>
            </a:pPr>
            <a:r>
              <a:rPr lang="el" sz="1000" b="0" i="0" u="none" baseline="0" dirty="0">
                <a:solidFill>
                  <a:srgbClr val="28313F"/>
                </a:solidFill>
                <a:latin typeface="+mj-lt"/>
                <a:ea typeface="Roboto Light"/>
              </a:rPr>
              <a:t>Μοντέρνος σχεδιασμός 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Μέρος της «σειράς» VP300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Βελτιωμένο περιεχόμενο συσκευασίας </a:t>
            </a:r>
            <a:r>
              <a:rPr kumimoji="0" lang="el" sz="1000" b="0" i="1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σημεία πώλησης)</a:t>
            </a:r>
          </a:p>
          <a:p>
            <a:pPr marL="144000" indent="-144000" algn="l" rtl="0">
              <a:spcBef>
                <a:spcPts val="0"/>
              </a:spcBef>
            </a:pPr>
            <a:endParaRPr lang="el" sz="1000" noProof="0" dirty="0"/>
          </a:p>
          <a:p>
            <a:pPr marL="144000" marR="0" lvl="0" indent="-144000" algn="l" rtl="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el" sz="1000" b="0" i="0" u="none" baseline="0" dirty="0">
                <a:solidFill>
                  <a:srgbClr val="28313F"/>
                </a:solidFill>
                <a:latin typeface="+mj-lt"/>
                <a:ea typeface="Roboto Light"/>
              </a:rPr>
              <a:t>Κιτ σέρβις/συντήρησης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Light (5 χάρτινες σακούλες, 1 HEPA, 1 φίλτρο μοτέρ)</a:t>
            </a:r>
          </a:p>
          <a:p>
            <a:pPr algn="l" rtl="0">
              <a:spcBef>
                <a:spcPts val="0"/>
              </a:spcBef>
              <a:defRPr/>
            </a:pPr>
            <a:r>
              <a:rPr kumimoji="0" lang="el" sz="10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lus (20 χάρτινες σακούλες, 1 HEPA, 1 φίλτρο μοτέρ)</a:t>
            </a:r>
          </a:p>
          <a:p>
            <a:pPr marL="144000" indent="-144000" algn="l" rtl="0">
              <a:spcBef>
                <a:spcPts val="0"/>
              </a:spcBef>
            </a:pPr>
            <a:endParaRPr lang="el" sz="1000" noProof="0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2736704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8</a:t>
            </a:fld>
            <a:endParaRPr lang="el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2" y="873877"/>
            <a:ext cx="5539606" cy="376456"/>
          </a:xfrm>
        </p:spPr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el" b="0" i="0" u="none" baseline="0">
                <a:ea typeface="Roboto Light"/>
              </a:rPr>
              <a:t>Σημαντικά στοιχεία του VP500</a:t>
            </a:r>
            <a:endParaRPr lang="el" noProof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9194927" cy="388013"/>
          </a:xfrm>
        </p:spPr>
        <p:txBody>
          <a:bodyPr vert="horz"/>
          <a:lstStyle/>
          <a:p>
            <a:pPr algn="l" rtl="0"/>
            <a:r>
              <a:rPr lang="el" dirty="0"/>
              <a:t>2</a:t>
            </a:r>
            <a:r>
              <a:rPr lang="el" b="1" i="0" u="none" baseline="0" dirty="0"/>
              <a:t> | Νέα απορροφητική σκούπα με μπαταρία</a:t>
            </a:r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/>
          <p:nvPr/>
        </p:nvCxnSpPr>
        <p:spPr>
          <a:xfrm rot="10800000" flipH="1">
            <a:off x="9198640" y="4235543"/>
            <a:ext cx="1351880" cy="67499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41811" y="1766233"/>
            <a:ext cx="20200" cy="246060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612798" y="4226833"/>
            <a:ext cx="1577371" cy="67507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758283" y="4665585"/>
            <a:ext cx="1467145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8 mm /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.66 in</a:t>
            </a: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301536" y="4764994"/>
            <a:ext cx="1147475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40 mm / </a:t>
            </a:r>
            <a:br>
              <a:rPr lang="el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3.38 in</a:t>
            </a: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603315" y="2467362"/>
            <a:ext cx="1077335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5 mm / </a:t>
            </a:r>
            <a:br>
              <a:rPr lang="el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l" sz="1100" b="0" i="0" u="none" baseline="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.55 in</a:t>
            </a:r>
          </a:p>
        </p:txBody>
      </p:sp>
      <p:pic>
        <p:nvPicPr>
          <p:cNvPr id="15" name="Picture 14" descr="A black and blue vacuum cleaner&#10;&#10;AI-generated content may be incorrect.">
            <a:extLst>
              <a:ext uri="{FF2B5EF4-FFF2-40B4-BE49-F238E27FC236}">
                <a16:creationId xmlns:a16="http://schemas.microsoft.com/office/drawing/2014/main" id="{6A070FB4-6B1F-8BAC-100B-4A9AA0BF3C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7364" y="1555934"/>
            <a:ext cx="3258043" cy="360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4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03414-D1B4-4530-3E41-8581EE44C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781DE3E-A3FD-4DF6-E64D-B0B500025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999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781DE3E-A3FD-4DF6-E64D-B0B500025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D8F4A3-75ED-EA45-83A2-97E32E6827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02697"/>
          </a:xfrm>
        </p:spPr>
        <p:txBody>
          <a:bodyPr/>
          <a:lstStyle/>
          <a:p>
            <a:pPr algn="l" rtl="0"/>
            <a:r>
              <a:rPr lang="el" b="0" i="0" u="none" baseline="0"/>
              <a:t>Τεχνικές προδιαγραφές της σειράς VP500</a:t>
            </a:r>
            <a:endParaRPr lang="el" noProof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8DC875C-9896-AED1-A442-192D14E3F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dirty="0"/>
              <a:t>2</a:t>
            </a:r>
            <a:r>
              <a:rPr lang="el" b="1" i="0" u="none" baseline="0" dirty="0"/>
              <a:t> | Νέα απορροφητική σκούπα με μπαταρία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944EDA2-A964-37C1-EB0C-20B835D79F2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2745848" cy="153888"/>
          </a:xfrm>
        </p:spPr>
        <p:txBody>
          <a:bodyPr/>
          <a:lstStyle/>
          <a:p>
            <a:pPr algn="l" rtl="0"/>
            <a:r>
              <a:rPr lang="el" b="0" i="0" u="none" baseline="0" dirty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46BBDF-9444-B586-FD5C-162F741DF6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9</a:t>
            </a:fld>
            <a:endParaRPr lang="el" noProof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0BCE8C4-1908-4F13-CDDF-73660AE64F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9885038"/>
              </p:ext>
            </p:extLst>
          </p:nvPr>
        </p:nvGraphicFramePr>
        <p:xfrm>
          <a:off x="479445" y="1261890"/>
          <a:ext cx="10791661" cy="5267187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2600401">
                  <a:extLst>
                    <a:ext uri="{9D8B030D-6E8A-4147-A177-3AD203B41FA5}">
                      <a16:colId xmlns:a16="http://schemas.microsoft.com/office/drawing/2014/main" val="3376735677"/>
                    </a:ext>
                  </a:extLst>
                </a:gridCol>
                <a:gridCol w="1040160">
                  <a:extLst>
                    <a:ext uri="{9D8B030D-6E8A-4147-A177-3AD203B41FA5}">
                      <a16:colId xmlns:a16="http://schemas.microsoft.com/office/drawing/2014/main" val="2598673169"/>
                    </a:ext>
                  </a:extLst>
                </a:gridCol>
                <a:gridCol w="1560240">
                  <a:extLst>
                    <a:ext uri="{9D8B030D-6E8A-4147-A177-3AD203B41FA5}">
                      <a16:colId xmlns:a16="http://schemas.microsoft.com/office/drawing/2014/main" val="3942922356"/>
                    </a:ext>
                  </a:extLst>
                </a:gridCol>
                <a:gridCol w="130020">
                  <a:extLst>
                    <a:ext uri="{9D8B030D-6E8A-4147-A177-3AD203B41FA5}">
                      <a16:colId xmlns:a16="http://schemas.microsoft.com/office/drawing/2014/main" val="4077217836"/>
                    </a:ext>
                  </a:extLst>
                </a:gridCol>
                <a:gridCol w="1300200">
                  <a:extLst>
                    <a:ext uri="{9D8B030D-6E8A-4147-A177-3AD203B41FA5}">
                      <a16:colId xmlns:a16="http://schemas.microsoft.com/office/drawing/2014/main" val="2596109984"/>
                    </a:ext>
                  </a:extLst>
                </a:gridCol>
                <a:gridCol w="130020">
                  <a:extLst>
                    <a:ext uri="{9D8B030D-6E8A-4147-A177-3AD203B41FA5}">
                      <a16:colId xmlns:a16="http://schemas.microsoft.com/office/drawing/2014/main" val="720710229"/>
                    </a:ext>
                  </a:extLst>
                </a:gridCol>
                <a:gridCol w="1300200">
                  <a:extLst>
                    <a:ext uri="{9D8B030D-6E8A-4147-A177-3AD203B41FA5}">
                      <a16:colId xmlns:a16="http://schemas.microsoft.com/office/drawing/2014/main" val="3340770028"/>
                    </a:ext>
                  </a:extLst>
                </a:gridCol>
                <a:gridCol w="1300200">
                  <a:extLst>
                    <a:ext uri="{9D8B030D-6E8A-4147-A177-3AD203B41FA5}">
                      <a16:colId xmlns:a16="http://schemas.microsoft.com/office/drawing/2014/main" val="1289157776"/>
                    </a:ext>
                  </a:extLst>
                </a:gridCol>
                <a:gridCol w="1300200">
                  <a:extLst>
                    <a:ext uri="{9D8B030D-6E8A-4147-A177-3AD203B41FA5}">
                      <a16:colId xmlns:a16="http://schemas.microsoft.com/office/drawing/2014/main" val="3394952989"/>
                    </a:ext>
                  </a:extLst>
                </a:gridCol>
                <a:gridCol w="130020">
                  <a:extLst>
                    <a:ext uri="{9D8B030D-6E8A-4147-A177-3AD203B41FA5}">
                      <a16:colId xmlns:a16="http://schemas.microsoft.com/office/drawing/2014/main" val="3517609390"/>
                    </a:ext>
                  </a:extLst>
                </a:gridCol>
              </a:tblGrid>
              <a:tr h="205129"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el" sz="10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Έκδοση χώρας</a:t>
                      </a:r>
                    </a:p>
                  </a:txBody>
                  <a:tcPr marL="45720" marR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el" sz="7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6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ΠΑΓΚΟΣΜΙΑ</a:t>
                      </a: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el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EU/UK</a:t>
                      </a: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B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el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144" marB="2743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5192300"/>
                  </a:ext>
                </a:extLst>
              </a:tr>
              <a:tr h="175352"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el" sz="7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ριθμός είδους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rtl="0" fontAlgn="b">
                        <a:buNone/>
                      </a:pPr>
                      <a:endParaRPr lang="el" sz="7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119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0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16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742232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2589179"/>
                  </a:ext>
                </a:extLst>
              </a:tr>
              <a:tr h="175352">
                <a:tc>
                  <a:txBody>
                    <a:bodyPr/>
                    <a:lstStyle/>
                    <a:p>
                      <a:pPr algn="ctr" defTabSz="1023967" rtl="0" fontAlgn="b">
                        <a:buNone/>
                      </a:pPr>
                      <a:endParaRPr lang="el" sz="7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Περιγραφή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ημείωση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Μηχάνημα μόνο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 EU/UK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BP+ EU/UK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P500 R H 2BP EU/UK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70565990"/>
                  </a:ext>
                </a:extLst>
              </a:tr>
              <a:tr h="251449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Τεχνικά στοιχεία</a:t>
                      </a:r>
                    </a:p>
                  </a:txBody>
                  <a:tcPr marL="0" marT="128016" marB="27432" anchor="ctr"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0338104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Τάση / Συχνότητα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/Hz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/50-6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19382233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ατηγορία προστασίας / Προστασία IP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 / IP2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 / IP2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 / IP2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 / IP2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9613248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Ονομαστική ισχύς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3591849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Ροή αέρα (μέγ.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s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1227035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Ροή αέρα (άκρο σωλήνα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s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9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4715703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Υποπίεση (στο ακροφύσιο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Pa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46468816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σχύς αναρρόφησης (άκρο σωλήνα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0370246"/>
                  </a:ext>
                </a:extLst>
              </a:tr>
              <a:tr h="224980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Ηχητική στάθμη 2m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Ήχος στη θέση εργασίας/χειρισμού,</a:t>
                      </a:r>
                      <a:b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απόσταση 2 m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2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5778126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τάθμη ηχητικής πίεσης σε 1m (IEC 60335-2-69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7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2153579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ρόνος λειτουργίας έως NBP60 / NBP100 (λειτουργία Eco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 / 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 / 9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 / 9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5 / 9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6474136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ωρητικότητα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59951386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Κύριος τύπος φίλτρου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 13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5727990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μβαδόν κύριου φίλτρου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00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3976774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Βάρος (μηχάνημα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μηχάνημα μόνο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2473485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Διαστάσεις (ΜxΠxΥ)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98x340x395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4754337"/>
                  </a:ext>
                </a:extLst>
              </a:tr>
              <a:tr h="251449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Χαρακτηριστικά</a:t>
                      </a:r>
                    </a:p>
                  </a:txBody>
                  <a:tcPr marL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128016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89879362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ποσπώμενο καλώδιο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5692874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Χωρίς καλώδιο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7156907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Φιλτράρισμα HEPA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5374784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νακυκλωμένο υλικό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09215990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νθεκτικό σύστημα τύλιξης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09885824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θόρυβη λειτουργία: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(Διπλή ταχύτητα)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0560858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Γρήγορη φόρτιση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2935318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τάθμευση σωλήνα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7991122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Αποθήκευση εργαλείων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1426058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ργονομική λαβή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50092791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ργονομικό λυγισμένο άκρο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Ι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457822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Εργονομικό λυγισμένο άκρο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k/μαλακό καλούπι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2041128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1378704"/>
                  </a:ext>
                </a:extLst>
              </a:tr>
              <a:tr h="142267"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Σακούλες σκόνης</a:t>
                      </a:r>
                    </a:p>
                  </a:txBody>
                  <a:tcPr marL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4572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l" sz="5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-P</a:t>
                      </a:r>
                    </a:p>
                  </a:txBody>
                  <a:tcPr marL="0" marR="0" marT="27432" marB="27432" anchor="ctr">
                    <a:lnR>
                      <a:noFill/>
                    </a:lnR>
                    <a:lnT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5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92899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403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a261087-ddb5-4fc3-ae00-ca27a6304815" xsi:nil="true"/>
    <lcf76f155ced4ddcb4097134ff3c332f xmlns="101d09d1-2fba-4d93-a45c-1211151ee786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32B75B72E9AD4B897284067DA3336A" ma:contentTypeVersion="14" ma:contentTypeDescription="Create a new document." ma:contentTypeScope="" ma:versionID="6492b7c3e85f5c14b0d1f8f0eca4bce4">
  <xsd:schema xmlns:xsd="http://www.w3.org/2001/XMLSchema" xmlns:xs="http://www.w3.org/2001/XMLSchema" xmlns:p="http://schemas.microsoft.com/office/2006/metadata/properties" xmlns:ns2="101d09d1-2fba-4d93-a45c-1211151ee786" xmlns:ns3="9a261087-ddb5-4fc3-ae00-ca27a6304815" targetNamespace="http://schemas.microsoft.com/office/2006/metadata/properties" ma:root="true" ma:fieldsID="235f7f4da562ffff761aabfec7130868" ns2:_="" ns3:_="">
    <xsd:import namespace="101d09d1-2fba-4d93-a45c-1211151ee786"/>
    <xsd:import namespace="9a261087-ddb5-4fc3-ae00-ca27a63048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LengthInSeconds" minOccurs="0"/>
                <xsd:element ref="ns2:MediaServiceBillingMetadata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1d09d1-2fba-4d93-a45c-1211151ee7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61087-ddb5-4fc3-ae00-ca27a6304815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70acf073-156a-45c2-8748-f00f6b029fee}" ma:internalName="TaxCatchAll" ma:showField="CatchAllData" ma:web="9a261087-ddb5-4fc3-ae00-ca27a63048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101d09d1-2fba-4d93-a45c-1211151ee786"/>
    <ds:schemaRef ds:uri="9a261087-ddb5-4fc3-ae00-ca27a630481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D71B90-5495-45F8-9AFC-3807E2172493}">
  <ds:schemaRefs>
    <ds:schemaRef ds:uri="101d09d1-2fba-4d93-a45c-1211151ee786"/>
    <ds:schemaRef ds:uri="9a261087-ddb5-4fc3-ae00-ca27a630481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 07-03-2022</Template>
  <TotalTime>368</TotalTime>
  <Words>3133</Words>
  <Application>Microsoft Office PowerPoint</Application>
  <PresentationFormat>Widescreen</PresentationFormat>
  <Paragraphs>1123</Paragraphs>
  <Slides>2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Arial</vt:lpstr>
      <vt:lpstr>Calibri</vt:lpstr>
      <vt:lpstr>Courier New</vt:lpstr>
      <vt:lpstr>Poppins</vt:lpstr>
      <vt:lpstr>Roboto</vt:lpstr>
      <vt:lpstr>Roboto Black</vt:lpstr>
      <vt:lpstr>Roboto Bold</vt:lpstr>
      <vt:lpstr>Roboto Light</vt:lpstr>
      <vt:lpstr>Roboto Light italic</vt:lpstr>
      <vt:lpstr>Roboto Medium</vt:lpstr>
      <vt:lpstr>Wingdings</vt:lpstr>
      <vt:lpstr>Nilfisk Toolbox_Standard_4-3</vt:lpstr>
      <vt:lpstr>think-cell Slide</vt:lpstr>
      <vt:lpstr>Nilfisk VP500 Επαγγελματικές απορροφητικές σκούπες στερεών </vt:lpstr>
      <vt:lpstr>Ατζέντα</vt:lpstr>
      <vt:lpstr>Ατζέντα</vt:lpstr>
      <vt:lpstr>1 | Υπόβαθρο </vt:lpstr>
      <vt:lpstr>1 | Υπόβαθρο - Επωνυμία και σχεδίαση</vt:lpstr>
      <vt:lpstr>Ατζέντα</vt:lpstr>
      <vt:lpstr>2 | Νέα απορροφητική σκούπα με μπαταρία </vt:lpstr>
      <vt:lpstr>2 | Νέα απορροφητική σκούπα με μπαταρία</vt:lpstr>
      <vt:lpstr>2 | Νέα απορροφητική σκούπα με μπαταρία</vt:lpstr>
      <vt:lpstr>2 | Νέα απορροφητική σκούπα με μπαταρία</vt:lpstr>
      <vt:lpstr>2 | Νέα απορροφητική σκούπα με μπαταρία</vt:lpstr>
      <vt:lpstr>Ατζέντα</vt:lpstr>
      <vt:lpstr>3 | Χαρακτηριστικά του VP500</vt:lpstr>
      <vt:lpstr>3 | Χαρακτηριστικά του VP500</vt:lpstr>
      <vt:lpstr>3 | Χαρακτηριστικά του VP500</vt:lpstr>
      <vt:lpstr>3 | Χαρακτηριστικά του VP500</vt:lpstr>
      <vt:lpstr>3 | Χαρακτηριστικά του VP500</vt:lpstr>
      <vt:lpstr>3 | Χαρακτηριστικά του VP500 - Φιλτράρισμα</vt:lpstr>
      <vt:lpstr>Ατζέντα</vt:lpstr>
      <vt:lpstr>4 | Νέα πλατφόρμα με μπαταρία</vt:lpstr>
      <vt:lpstr>4 | Νέα πλατφόρμα με μπαταρία</vt:lpstr>
      <vt:lpstr>4 | Νέα πλατφόρμα με μπαταρία</vt:lpstr>
      <vt:lpstr>4 | Συσκευασία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Esben Graff</dc:creator>
  <cp:lastModifiedBy>Anastasia Droungani</cp:lastModifiedBy>
  <cp:revision>19</cp:revision>
  <dcterms:created xsi:type="dcterms:W3CDTF">2022-03-29T11:25:32Z</dcterms:created>
  <dcterms:modified xsi:type="dcterms:W3CDTF">2025-12-05T11:1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4A32B75B72E9AD4B897284067DA3336A</vt:lpwstr>
  </property>
  <property fmtid="{D5CDD505-2E9C-101B-9397-08002B2CF9AE}" pid="6" name="MSIP_Label_c1c1fc1b-71f6-4e55-b88d-a4d9044b10bf_Enabled">
    <vt:lpwstr>true</vt:lpwstr>
  </property>
  <property fmtid="{D5CDD505-2E9C-101B-9397-08002B2CF9AE}" pid="7" name="MSIP_Label_c1c1fc1b-71f6-4e55-b88d-a4d9044b10bf_SetDate">
    <vt:lpwstr>2022-03-29T11:34:17Z</vt:lpwstr>
  </property>
  <property fmtid="{D5CDD505-2E9C-101B-9397-08002B2CF9AE}" pid="8" name="MSIP_Label_c1c1fc1b-71f6-4e55-b88d-a4d9044b10bf_Method">
    <vt:lpwstr>Privileged</vt:lpwstr>
  </property>
  <property fmtid="{D5CDD505-2E9C-101B-9397-08002B2CF9AE}" pid="9" name="MSIP_Label_c1c1fc1b-71f6-4e55-b88d-a4d9044b10bf_Name">
    <vt:lpwstr>Nilfisk secret</vt:lpwstr>
  </property>
  <property fmtid="{D5CDD505-2E9C-101B-9397-08002B2CF9AE}" pid="10" name="MSIP_Label_c1c1fc1b-71f6-4e55-b88d-a4d9044b10bf_SiteId">
    <vt:lpwstr>753c5d99-05be-4237-b4c5-fdb2e6b32ab2</vt:lpwstr>
  </property>
  <property fmtid="{D5CDD505-2E9C-101B-9397-08002B2CF9AE}" pid="11" name="MSIP_Label_c1c1fc1b-71f6-4e55-b88d-a4d9044b10bf_ActionId">
    <vt:lpwstr>5172cd7c-cf70-427c-9652-15fc36e67b62</vt:lpwstr>
  </property>
  <property fmtid="{D5CDD505-2E9C-101B-9397-08002B2CF9AE}" pid="12" name="MSIP_Label_c1c1fc1b-71f6-4e55-b88d-a4d9044b10bf_ContentBits">
    <vt:lpwstr>2</vt:lpwstr>
  </property>
  <property fmtid="{D5CDD505-2E9C-101B-9397-08002B2CF9AE}" pid="13" name="MediaServiceImageTags">
    <vt:lpwstr/>
  </property>
</Properties>
</file>